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147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9.xml" ContentType="application/vnd.openxmlformats-officedocument.theme+xml"/>
  <Override PartName="/ppt/tags/tag14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149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1.xml" ContentType="application/vnd.openxmlformats-officedocument.theme+xml"/>
  <Override PartName="/ppt/tags/tag15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3.xml" ContentType="application/vnd.openxmlformats-officedocument.theme+xml"/>
  <Override PartName="/ppt/tags/tag151.xml" ContentType="application/vnd.openxmlformats-officedocument.presentationml.tags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94" r:id="rId3"/>
    <p:sldMasterId id="2147483726" r:id="rId4"/>
    <p:sldMasterId id="2147483748" r:id="rId5"/>
    <p:sldMasterId id="2147483752" r:id="rId6"/>
    <p:sldMasterId id="2147483769" r:id="rId7"/>
    <p:sldMasterId id="2147483794" r:id="rId8"/>
    <p:sldMasterId id="2147483800" r:id="rId9"/>
    <p:sldMasterId id="2147483806" r:id="rId10"/>
    <p:sldMasterId id="2147483812" r:id="rId11"/>
    <p:sldMasterId id="2147483818" r:id="rId12"/>
    <p:sldMasterId id="2147483831" r:id="rId13"/>
  </p:sldMasterIdLst>
  <p:notesMasterIdLst>
    <p:notesMasterId r:id="rId22"/>
  </p:notesMasterIdLst>
  <p:sldIdLst>
    <p:sldId id="378" r:id="rId14"/>
    <p:sldId id="2134959180" r:id="rId15"/>
    <p:sldId id="2134959113" r:id="rId16"/>
    <p:sldId id="2134959112" r:id="rId17"/>
    <p:sldId id="2134959114" r:id="rId18"/>
    <p:sldId id="2134959115" r:id="rId19"/>
    <p:sldId id="2134959179" r:id="rId20"/>
    <p:sldId id="349" r:id="rId21"/>
  </p:sldIdLst>
  <p:sldSz cx="12192000" cy="6858000"/>
  <p:notesSz cx="6858000" cy="9144000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1981" lvl="1">
              <a:buFont typeface="Arial" panose="020B0604020202020204" pitchFamily="34" charset="0"/>
              <a:buNone/>
            </a:pPr>
            <a:r>
              <a:rPr lang="ru-RU" sz="1800" dirty="0"/>
              <a:t>Пересмотренный </a:t>
            </a:r>
            <a:r>
              <a:rPr lang="ru-RU" sz="1800" b="1" dirty="0"/>
              <a:t>алгоритм диагностики </a:t>
            </a:r>
            <a:r>
              <a:rPr lang="ru-RU" sz="1800" dirty="0"/>
              <a:t>теперь включает </a:t>
            </a:r>
            <a:r>
              <a:rPr lang="ru-RU" sz="1800" b="1" dirty="0">
                <a:latin typeface="Verdana"/>
                <a:ea typeface="Verdana"/>
                <a:cs typeface="Verdana"/>
              </a:rPr>
              <a:t>ускоренное </a:t>
            </a:r>
            <a:r>
              <a:rPr lang="ru-RU" sz="1800" dirty="0">
                <a:latin typeface="Verdana"/>
                <a:ea typeface="Verdana"/>
                <a:cs typeface="Verdana"/>
              </a:rPr>
              <a:t>направление пациентов и подчеркивает важность комплексного диагностического подхода и междисциплинарной группы по ЛГ</a:t>
            </a:r>
            <a:endParaRPr lang="ru-RU" sz="1800" baseline="30000" dirty="0">
              <a:latin typeface="Verdana"/>
              <a:ea typeface="Verdana"/>
              <a:cs typeface="Verdana"/>
            </a:endParaRPr>
          </a:p>
          <a:p>
            <a:pPr marL="761981" lvl="1">
              <a:buFont typeface="Arial" panose="020B0604020202020204" pitchFamily="34" charset="0"/>
              <a:buNone/>
            </a:pPr>
            <a:r>
              <a:rPr lang="ru-RU" sz="1800" dirty="0"/>
              <a:t>Частая (3–6 месяцев) многофакторная </a:t>
            </a:r>
            <a:r>
              <a:rPr lang="ru-RU" sz="1800" b="1" dirty="0"/>
              <a:t>стратификация риска</a:t>
            </a:r>
            <a:r>
              <a:rPr lang="ru-RU" sz="1800" dirty="0"/>
              <a:t> играет ключевую роль в </a:t>
            </a:r>
            <a:r>
              <a:rPr lang="ru-RU" sz="1800" b="1" dirty="0"/>
              <a:t>стратегии лечения </a:t>
            </a:r>
            <a:r>
              <a:rPr lang="ru-RU" sz="1800" dirty="0"/>
              <a:t>для поддержки низкого уровня риска у пациентов и немедленного </a:t>
            </a:r>
            <a:r>
              <a:rPr lang="ru-RU" sz="1800" b="1" dirty="0"/>
              <a:t>перехода к двойной или тройной терапии</a:t>
            </a:r>
            <a:r>
              <a:rPr lang="ru-RU" sz="1800" dirty="0"/>
              <a:t>, если низкий уровень риска не достигнут</a:t>
            </a:r>
            <a:r>
              <a:rPr lang="ru-RU" sz="1800" baseline="30000" dirty="0"/>
              <a:t>3</a:t>
            </a:r>
          </a:p>
          <a:p>
            <a:pPr marL="761981" lvl="1">
              <a:buFont typeface="Arial" panose="020B0604020202020204" pitchFamily="34" charset="0"/>
              <a:buNone/>
            </a:pPr>
            <a:r>
              <a:rPr lang="ru-RU" sz="1800" dirty="0">
                <a:solidFill>
                  <a:srgbClr val="231F20"/>
                </a:solidFill>
                <a:latin typeface="Times-Roman"/>
              </a:rPr>
              <a:t>Больных с сохраняющимся средним и высоким риском необходимо направлять в экспертный центр для решения вопроса об эскалации терапии</a:t>
            </a:r>
            <a:endParaRPr lang="ru-RU" sz="1800" baseline="30000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453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имптомы заболевания не являются специфичными (одышка, слабость, головокружение и т.д.), что затрудняет раннюю диагностику ЛАГ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ранней стадии ЛАГ может протекать бессимптомно, несмотря на гемодинамические изменения. Это обусловлено тем, что правый желудочек первоначально способен компенсировать повышение ЛСС 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ДЛ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На этой стадии часто симптомы появляются только при физической нагрузке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сли у пациентов появляются симптомы, первоначально они могут быть неспецифичными, включая одышку, недомогание (общее, неспецифическое ощущение болезненного состояния), утомляемость, снижение толерантности к физической нагрузке и боль в грудной клетке. По мере прогрессирования заболевания эти симптомы усугубляются до той степени, когда они начинают влиять на повседневную деятельность пациента. Период времени с момента появления первых симптомов ЛАГ до установления точного диагноза и начала терапии часто составляет два года или более. Во многих случаях на момент постановки диагноза уже имеется тяжелое и потенциально необратимое поражение сосудов и сердца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845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леднем руководстве 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C/ERS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ложена оценка степени вероятности ЛГ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 пациентов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основании 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V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кое и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рисутствии дополнительных заданных 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хокардиографических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переменных, указывающих на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Г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 результату оценки вероятность может быть низкой, средней или высокой для принятия решения о необходимости в катетеризации сердца у некоторых пациентов</a:t>
            </a:r>
            <a:r>
              <a:rPr lang="de-CH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  <a:p>
            <a:r>
              <a:rPr lang="ru-RU" dirty="0"/>
              <a:t>Эхокардиография остается одним из основных методов диагностики у пациентов с ЛАГ. По данным 6 всемирного симпозиума по ЛГ, пациенты, у которых при первичном обследовании на ЭХО-КГ обнаруживается высокая вероятность ЛГ должны быть направлены в экспертный центр для углубленного обследования и выполнения КПОС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61289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ле того как исключены другие возможные причины </a:t>
            </a:r>
            <a:r>
              <a:rPr lang="ru-R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Г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диагноз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АГ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тверждается методом катетеризации правых отделов сердца (</a:t>
            </a:r>
            <a:r>
              <a:rPr lang="ru-R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ПОС)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ПОС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инвазивная процедура, которая считается «золотым стандартом» для подтверждения диагноза ЛАГ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лагодаря точности и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спроизводимости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змерений систолического и диастолического </a:t>
            </a:r>
            <a:r>
              <a:rPr lang="ru-R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ЗЛА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использовании этого метод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ПОС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зволяет получить важную информацию о величине давления в различных камерах сердца и о токе крови через сердце и легочную артерию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ые, полученные при КПОС, могут использоваться для оценки многих важных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емодинамических параметров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цедура предполагает введение тонкой гибкой трубки 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тетера для легочной артери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л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тетера для введения в правые отделы сердца 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тетера Свана-Ганз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–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вену в области пах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руке ил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шее и медленное его проведения в правое предсердие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авый желудочек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тем в легочную артерию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вление регистрируется в каждой камере и в легочной артери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ле этого производится оценка сердечного выброс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(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овотока через сердце и кровеносную систему организм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ЗЛА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ставляет собой внутрисосудистое давление, полученное при введении катетера в дистальную часть легочной артери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заклинивание»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 счет раздувания баллона на конце катетера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то есть, закупоривания сосуда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</a:p>
          <a:p>
            <a:pPr rtl="0" fontAlgn="base"/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645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стоящее время для оценки риска смерти пациентов применяется многофакторный подход. Проводя стратификацию рисков, помимо клинической оценки, необходимо проанализировать множество лабораторных и инструментальных показателей, в частности, биохимические маркеры, провести тесты с физической нагрузкой, оценить гемодинамические показатели, сделать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хокардиографические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сследования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зультаты недавних клинических испытаний показывают, что пациенты II ФК по ВОЗ, долгое время считавшиеся стабильными, на самом деле не стабильны. Поэтому многофакторная оценка риска всех пациентов с ЛАГ имеет важное значение в оценке статуса пациента и необходимости эскалации терапии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046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23516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7952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6433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4949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870450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81429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4B8353-B785-4880-9812-502946E62F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E4644F3C-C16D-4EEC-8157-37E62D8CE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BE6EE283-0BB1-41FD-8619-0E735FEC62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84CC92F5-9860-4F98-90EF-A7E08D94A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587C4840-B037-49E6-8772-EE5C6856D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246679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5BA6CA-4E54-4FA5-94CF-7C1B9D0B1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752886F0-97F0-41EF-AF79-941B6BE90F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E61820E8-3339-4E5B-AA1F-5D42D7EC5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3797FE0-F987-4BB0-9D85-EA0B2B0AC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CCF6EE67-B56F-41AE-B670-7E4A62EF2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356004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0C8244-B05B-4FDF-AE79-687A21F1A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0F4BBD8C-B3B9-428F-B14D-5CEF39612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D17B0CF-1083-450B-8FD1-DFB464E0C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0217FDB-3B26-4A1B-9218-E22EE5A6C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42400A73-7C53-4FD6-AB4D-4E8773734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920896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96ADA2-DB79-4EF0-886C-95C53CB76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D525B3F1-373D-44FB-9E25-DF3723C2C5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FB62B5F5-5CFA-41A0-80F1-704D778C9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537171E-74BC-4602-A4FF-C706BA180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AFC118F3-99D0-4F7F-A488-66DF78D40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8E606F02-9A59-4EE8-820B-A66336C2D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30943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9B7CB1-B047-46C0-BF84-AD8221DDD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51C24AA4-0708-48B4-B573-57DC92D236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2C168BBF-424E-49E6-B70E-3B69DD48D5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E45C4262-2434-4807-AA4F-AC0F29F07C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B851FB8E-C189-4B3A-9B4C-5D0E54D5C2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D32E181C-D1DF-43DA-8AC2-7D2B1B5CD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6DA93058-B0B0-4900-83E8-6A3B3F870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18742799-8BEA-4765-8BCB-75338B855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739615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473AB7-3F61-44FD-A732-0B85DACEA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945C9E95-F51C-43A9-B007-E79901B38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61F40178-F42A-4015-925F-D73834E98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DA6FF828-03F0-4790-8375-E31BBC161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6574582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D1BB2F89-49FA-4EC8-84C5-87409565F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A116C271-3499-4B2C-856B-DD649EE50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871C5D30-9392-44E3-9831-17DC5522F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3708800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C915C8-25EB-48AB-935F-56B3CAD9F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6E655996-D6B0-466D-8C80-0250497690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F0352098-1025-43B2-AADD-11D508FD01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C92DE1C-579F-463A-B4F6-767F6E5E2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B71EF234-374B-444B-A842-65C26E70C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F529B64F-E41B-4D75-AC60-81920A6A7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679216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57D4DB-C617-4ADB-A20C-289C23093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6130A611-F5A3-4A13-99C5-915D028EEB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9997D961-FA13-4D2B-A6C2-F40B8A6FA1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D3CA794B-0520-49E1-89FD-A6F71B3AA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5313DF1F-92EB-458C-81C8-113D0EFB4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4A50E00A-BEBB-4C6E-8869-D4D72EE36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890047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301F62-6F7E-41CF-819E-014C15CD8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7ABD685E-AD30-4E57-B103-95D49D4693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19A42D8-1099-4113-9105-ADDDA397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92E380FB-B3B3-4DA4-8BF9-F8A33157C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538CE927-C350-430F-AE90-DB589973F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391057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7A529955-D25E-44E5-B70F-0FD6F74851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AC23E041-306E-4DF7-B1F9-4C5082CC54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34629E9E-6FA5-46E7-9ECF-57B664964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0294E2FF-B44A-409B-B766-40095F7D5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B201F04-EBAB-440E-98AA-FF9FFA049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9713194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E326D8-5971-4156-9AAD-017FEA9055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751654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70621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696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65642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709610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7982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364691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22739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0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29BD82-8983-4377-8C96-9EEC7FA0B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8B5BB94-32EB-4C2B-9C02-C3956A9436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5DBFB3-4E42-4F6B-8983-EDC4DE7B1D34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11" name="doc id">
            <a:extLst>
              <a:ext uri="{FF2B5EF4-FFF2-40B4-BE49-F238E27FC236}">
                <a16:creationId xmlns:a16="http://schemas.microsoft.com/office/drawing/2014/main" id="{A94DD0F9-8ADB-46D9-9C51-EB425CEEB8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4D41A13C-E734-4834-96A5-AEE14295C4C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7DBB704A-15F1-45FE-BB09-EE6593FE11B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4" name="Document type" hidden="1">
            <a:extLst>
              <a:ext uri="{FF2B5EF4-FFF2-40B4-BE49-F238E27FC236}">
                <a16:creationId xmlns:a16="http://schemas.microsoft.com/office/drawing/2014/main" id="{7CDF585F-6FCC-4EE4-BA7E-E89347E9F1C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1CDFAAB-7BB7-4F1C-9F4E-E8E654C0CB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976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31405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482556"/>
      </p:ext>
    </p:extLst>
  </p:cSld>
  <p:clrMapOvr>
    <a:masterClrMapping/>
  </p:clrMapOvr>
  <p:hf sldNum="0" hd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7616553"/>
      </p:ext>
    </p:extLst>
  </p:cSld>
  <p:clrMapOvr>
    <a:masterClrMapping/>
  </p:clrMapOvr>
  <p:hf sldNum="0" hd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842188"/>
      </p:ext>
    </p:extLst>
  </p:cSld>
  <p:clrMapOvr>
    <a:masterClrMapping/>
  </p:clrMapOvr>
  <p:hf sldNum="0"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D3388FE-57A9-40FB-8394-FBFFB3BDE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DD8532D-26E9-444C-A6D0-AB1444405B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doc id" hidden="1">
            <a:extLst>
              <a:ext uri="{FF2B5EF4-FFF2-40B4-BE49-F238E27FC236}">
                <a16:creationId xmlns:a16="http://schemas.microsoft.com/office/drawing/2014/main" id="{07176B41-6AD8-44A0-95FB-ACAA4911A887}"/>
              </a:ext>
            </a:extLst>
          </p:cNvPr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90426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4472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848640"/>
      </p:ext>
    </p:extLst>
  </p:cSld>
  <p:clrMapOvr>
    <a:masterClrMapping/>
  </p:clrMapOvr>
  <p:hf sldNum="0"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8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760060"/>
      </p:ext>
    </p:extLst>
  </p:cSld>
  <p:clrMapOvr>
    <a:masterClrMapping/>
  </p:clrMapOvr>
  <p:hf sldNum="0" hd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015861"/>
      </p:ext>
    </p:extLst>
  </p:cSld>
  <p:clrMapOvr>
    <a:masterClrMapping/>
  </p:clrMapOvr>
  <p:hf sldNum="0"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10017"/>
      </p:ext>
    </p:extLst>
  </p:cSld>
  <p:clrMapOvr>
    <a:masterClrMapping/>
  </p:clrMapOvr>
  <p:hf sldNum="0"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689416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7068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46735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517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80587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88634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68168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86921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1911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649789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4E69A-BB2F-466C-88DD-1FA19F2F8991}" type="datetimeFigureOut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129E6-4A33-49BF-A50E-91A2115A923D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13742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77179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552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9269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29197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98.xml"/><Relationship Id="rId7" Type="http://schemas.openxmlformats.org/officeDocument/2006/relationships/tags" Target="../tags/tag149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03.xml"/><Relationship Id="rId7" Type="http://schemas.openxmlformats.org/officeDocument/2006/relationships/tags" Target="../tags/tag150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9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120.xml"/><Relationship Id="rId7" Type="http://schemas.openxmlformats.org/officeDocument/2006/relationships/tags" Target="../tags/tag151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image" Target="../media/image6.png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oleObject" Target="../embeddings/oleObject3.bin"/><Relationship Id="rId10" Type="http://schemas.openxmlformats.org/officeDocument/2006/relationships/theme" Target="../theme/theme2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51.xml"/><Relationship Id="rId3" Type="http://schemas.openxmlformats.org/officeDocument/2006/relationships/slideLayout" Target="../slideLayouts/slideLayout16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66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5.tif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6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19" Type="http://schemas.openxmlformats.org/officeDocument/2006/relationships/oleObject" Target="../embeddings/oleObject6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" Target="../slides/slide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tags" Target="../tags/tag74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tags" Target="../tags/tag73.xml"/><Relationship Id="rId27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3.jpe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62.xml"/><Relationship Id="rId16" Type="http://schemas.openxmlformats.org/officeDocument/2006/relationships/tags" Target="../tags/tag86.xml"/><Relationship Id="rId20" Type="http://schemas.openxmlformats.org/officeDocument/2006/relationships/slide" Target="../slides/slide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15.tiff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theme" Target="../theme/theme7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9" Type="http://schemas.openxmlformats.org/officeDocument/2006/relationships/tags" Target="../tags/tag118.xml"/><Relationship Id="rId21" Type="http://schemas.openxmlformats.org/officeDocument/2006/relationships/tags" Target="../tags/tag100.xml"/><Relationship Id="rId34" Type="http://schemas.openxmlformats.org/officeDocument/2006/relationships/tags" Target="../tags/tag113.xml"/><Relationship Id="rId42" Type="http://schemas.openxmlformats.org/officeDocument/2006/relationships/tags" Target="../tags/tag121.xml"/><Relationship Id="rId47" Type="http://schemas.openxmlformats.org/officeDocument/2006/relationships/tags" Target="../tags/tag126.xml"/><Relationship Id="rId50" Type="http://schemas.openxmlformats.org/officeDocument/2006/relationships/tags" Target="../tags/tag129.xml"/><Relationship Id="rId55" Type="http://schemas.openxmlformats.org/officeDocument/2006/relationships/tags" Target="../tags/tag134.xml"/><Relationship Id="rId63" Type="http://schemas.openxmlformats.org/officeDocument/2006/relationships/tags" Target="../tags/tag142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95.xml"/><Relationship Id="rId29" Type="http://schemas.openxmlformats.org/officeDocument/2006/relationships/tags" Target="../tags/tag108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ags" Target="../tags/tag103.xml"/><Relationship Id="rId32" Type="http://schemas.openxmlformats.org/officeDocument/2006/relationships/tags" Target="../tags/tag111.xml"/><Relationship Id="rId37" Type="http://schemas.openxmlformats.org/officeDocument/2006/relationships/tags" Target="../tags/tag116.xml"/><Relationship Id="rId40" Type="http://schemas.openxmlformats.org/officeDocument/2006/relationships/tags" Target="../tags/tag119.xml"/><Relationship Id="rId45" Type="http://schemas.openxmlformats.org/officeDocument/2006/relationships/tags" Target="../tags/tag124.xml"/><Relationship Id="rId53" Type="http://schemas.openxmlformats.org/officeDocument/2006/relationships/tags" Target="../tags/tag132.xml"/><Relationship Id="rId58" Type="http://schemas.openxmlformats.org/officeDocument/2006/relationships/tags" Target="../tags/tag137.xml"/><Relationship Id="rId66" Type="http://schemas.openxmlformats.org/officeDocument/2006/relationships/image" Target="../media/image5.emf"/><Relationship Id="rId5" Type="http://schemas.openxmlformats.org/officeDocument/2006/relationships/slideLayout" Target="../slideLayouts/slideLayout78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tags" Target="../tags/tag115.xml"/><Relationship Id="rId49" Type="http://schemas.openxmlformats.org/officeDocument/2006/relationships/tags" Target="../tags/tag128.xml"/><Relationship Id="rId57" Type="http://schemas.openxmlformats.org/officeDocument/2006/relationships/tags" Target="../tags/tag136.xml"/><Relationship Id="rId61" Type="http://schemas.openxmlformats.org/officeDocument/2006/relationships/tags" Target="../tags/tag140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4" Type="http://schemas.openxmlformats.org/officeDocument/2006/relationships/tags" Target="../tags/tag123.xml"/><Relationship Id="rId52" Type="http://schemas.openxmlformats.org/officeDocument/2006/relationships/tags" Target="../tags/tag131.xml"/><Relationship Id="rId60" Type="http://schemas.openxmlformats.org/officeDocument/2006/relationships/tags" Target="../tags/tag139.xml"/><Relationship Id="rId65" Type="http://schemas.openxmlformats.org/officeDocument/2006/relationships/oleObject" Target="../embeddings/oleObject3.bin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tags" Target="../tags/tag114.xml"/><Relationship Id="rId43" Type="http://schemas.openxmlformats.org/officeDocument/2006/relationships/tags" Target="../tags/tag122.xml"/><Relationship Id="rId48" Type="http://schemas.openxmlformats.org/officeDocument/2006/relationships/tags" Target="../tags/tag127.xml"/><Relationship Id="rId56" Type="http://schemas.openxmlformats.org/officeDocument/2006/relationships/tags" Target="../tags/tag135.xml"/><Relationship Id="rId64" Type="http://schemas.openxmlformats.org/officeDocument/2006/relationships/image" Target="../media/image19.jpg"/><Relationship Id="rId8" Type="http://schemas.openxmlformats.org/officeDocument/2006/relationships/slideLayout" Target="../slideLayouts/slideLayout81.xml"/><Relationship Id="rId51" Type="http://schemas.openxmlformats.org/officeDocument/2006/relationships/tags" Target="../tags/tag130.xml"/><Relationship Id="rId3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5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tags" Target="../tags/tag117.xml"/><Relationship Id="rId46" Type="http://schemas.openxmlformats.org/officeDocument/2006/relationships/tags" Target="../tags/tag125.xml"/><Relationship Id="rId59" Type="http://schemas.openxmlformats.org/officeDocument/2006/relationships/tags" Target="../tags/tag138.xml"/><Relationship Id="rId67" Type="http://schemas.openxmlformats.org/officeDocument/2006/relationships/image" Target="../media/image6.png"/><Relationship Id="rId20" Type="http://schemas.openxmlformats.org/officeDocument/2006/relationships/tags" Target="../tags/tag99.xml"/><Relationship Id="rId41" Type="http://schemas.openxmlformats.org/officeDocument/2006/relationships/tags" Target="../tags/tag120.xml"/><Relationship Id="rId54" Type="http://schemas.openxmlformats.org/officeDocument/2006/relationships/tags" Target="../tags/tag133.xml"/><Relationship Id="rId62" Type="http://schemas.openxmlformats.org/officeDocument/2006/relationships/tags" Target="../tags/tag14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14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93.xml"/><Relationship Id="rId7" Type="http://schemas.openxmlformats.org/officeDocument/2006/relationships/tags" Target="../tags/tag148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8" r:id="rId6"/>
    <p:sldLayoutId id="2147483669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76908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16864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5921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2340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1E9B9725-A664-4D6A-9A6C-7E85A9E26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C9E12BFA-1BDC-4262-9377-57BD5E731C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3A7918EE-7BF4-4474-A3BA-D9808EC96A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5A6986-E340-43A5-9FEC-F6BEC8D6F268}" type="datetimeFigureOut">
              <a:rPr lang="uk-UA" smtClean="0"/>
              <a:pPr/>
              <a:t>10.08.2021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CCDB8B24-3974-4C8F-BF0D-4041F186D5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3639B0D8-E6BB-4341-827A-2A1D970519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A1BF09-AE17-49A2-AF6B-0F0DF16612EB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896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6584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7811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1" imgW="360" imgH="360" progId="">
                  <p:embed/>
                </p:oleObj>
              </mc:Choice>
              <mc:Fallback>
                <p:oleObj name="think-cell Slide" r:id="rId61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7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60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20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7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768" r:id="rId9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2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67" r:id="rId15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3" r:id="rId6"/>
    <p:sldLayoutId id="2147483734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4" r:id="rId15"/>
    <p:sldLayoutId id="2147483745" r:id="rId16"/>
    <p:sldLayoutId id="2147483746" r:id="rId17"/>
    <p:sldLayoutId id="2147483747" r:id="rId18"/>
    <p:sldLayoutId id="2147483688" r:id="rId19"/>
    <p:sldLayoutId id="2147483690" r:id="rId20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0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8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4B1FE81-5635-416B-A5D3-E5015AD3EC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60" imgH="360" progId="">
                  <p:embed/>
                </p:oleObj>
              </mc:Choice>
              <mc:Fallback>
                <p:oleObj name="think-cell Slide" r:id="rId6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B830DF8-D416-44A9-B2C2-823D47C07CD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9D7F2B-E82D-4DC8-91A7-F900B2578987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1. On-page tracker" hidden="1">
            <a:extLst>
              <a:ext uri="{FF2B5EF4-FFF2-40B4-BE49-F238E27FC236}">
                <a16:creationId xmlns:a16="http://schemas.microsoft.com/office/drawing/2014/main" id="{BD18353B-74CF-4C7F-896D-A4481372BF8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5" name="3. Unit of measure" hidden="1">
            <a:extLst>
              <a:ext uri="{FF2B5EF4-FFF2-40B4-BE49-F238E27FC236}">
                <a16:creationId xmlns:a16="http://schemas.microsoft.com/office/drawing/2014/main" id="{A353B97D-8455-4F14-B755-6EB024C6276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6" name="Rectangle 286">
            <a:extLst>
              <a:ext uri="{FF2B5EF4-FFF2-40B4-BE49-F238E27FC236}">
                <a16:creationId xmlns:a16="http://schemas.microsoft.com/office/drawing/2014/main" id="{40CEAF50-647A-4A80-BB6B-F80C8B7A79D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7" name="ACET" hidden="1">
            <a:extLst>
              <a:ext uri="{FF2B5EF4-FFF2-40B4-BE49-F238E27FC236}">
                <a16:creationId xmlns:a16="http://schemas.microsoft.com/office/drawing/2014/main" id="{B9CD9E21-8444-410E-820C-A97B101F2EC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8" name="AutoShape 249">
              <a:extLst>
                <a:ext uri="{FF2B5EF4-FFF2-40B4-BE49-F238E27FC236}">
                  <a16:creationId xmlns:a16="http://schemas.microsoft.com/office/drawing/2014/main" id="{6F035C03-3287-40B5-9C9D-B6989AA5E4BD}"/>
                </a:ext>
              </a:extLst>
            </p:cNvPr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AutoShape 250">
              <a:extLst>
                <a:ext uri="{FF2B5EF4-FFF2-40B4-BE49-F238E27FC236}">
                  <a16:creationId xmlns:a16="http://schemas.microsoft.com/office/drawing/2014/main" id="{798B12F3-01F9-4282-A89F-067027CAE2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072F15E9-DFA8-4F0C-BF89-7F2073791F7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21" name="Sticker" hidden="1">
            <a:extLst>
              <a:ext uri="{FF2B5EF4-FFF2-40B4-BE49-F238E27FC236}">
                <a16:creationId xmlns:a16="http://schemas.microsoft.com/office/drawing/2014/main" id="{50C2AFFB-F3FD-414B-A26B-3BE5CCF99D1F}"/>
              </a:ext>
            </a:extLst>
          </p:cNvPr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22" name="StickerRectangle">
              <a:extLst>
                <a:ext uri="{FF2B5EF4-FFF2-40B4-BE49-F238E27FC236}">
                  <a16:creationId xmlns:a16="http://schemas.microsoft.com/office/drawing/2014/main" id="{95D639A4-8A61-4CED-95E0-F814793B576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3" name="AutoShape 31">
              <a:extLst>
                <a:ext uri="{FF2B5EF4-FFF2-40B4-BE49-F238E27FC236}">
                  <a16:creationId xmlns:a16="http://schemas.microsoft.com/office/drawing/2014/main" id="{994106EC-D060-4523-A36C-BE83ACC3E051}"/>
                </a:ext>
              </a:extLst>
            </p:cNvPr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>
              <a:extLst>
                <a:ext uri="{FF2B5EF4-FFF2-40B4-BE49-F238E27FC236}">
                  <a16:creationId xmlns:a16="http://schemas.microsoft.com/office/drawing/2014/main" id="{F5C4CC84-1CA6-4857-A2B4-EC420C90C022}"/>
                </a:ext>
              </a:extLst>
            </p:cNvPr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LegendBoxes" hidden="1">
            <a:extLst>
              <a:ext uri="{FF2B5EF4-FFF2-40B4-BE49-F238E27FC236}">
                <a16:creationId xmlns:a16="http://schemas.microsoft.com/office/drawing/2014/main" id="{436B7EF7-FE7E-4F45-A193-573464736A53}"/>
              </a:ext>
            </a:extLst>
          </p:cNvPr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26" name="RectangleLegend1">
              <a:extLst>
                <a:ext uri="{FF2B5EF4-FFF2-40B4-BE49-F238E27FC236}">
                  <a16:creationId xmlns:a16="http://schemas.microsoft.com/office/drawing/2014/main" id="{1779C224-4F1B-403A-8C69-08E80376CA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27" name="RectangleLegend2">
              <a:extLst>
                <a:ext uri="{FF2B5EF4-FFF2-40B4-BE49-F238E27FC236}">
                  <a16:creationId xmlns:a16="http://schemas.microsoft.com/office/drawing/2014/main" id="{81EE6FBF-7C12-486A-AADB-417C6BE142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28" name="RectangleLegend3">
              <a:extLst>
                <a:ext uri="{FF2B5EF4-FFF2-40B4-BE49-F238E27FC236}">
                  <a16:creationId xmlns:a16="http://schemas.microsoft.com/office/drawing/2014/main" id="{F1081D71-45D4-4F6F-AF87-E99020F167C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29" name="RectangleLegend4">
              <a:extLst>
                <a:ext uri="{FF2B5EF4-FFF2-40B4-BE49-F238E27FC236}">
                  <a16:creationId xmlns:a16="http://schemas.microsoft.com/office/drawing/2014/main" id="{1E3B6735-9B4F-48B1-BE21-50C90F0BBC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30" name="Legend1">
              <a:extLst>
                <a:ext uri="{FF2B5EF4-FFF2-40B4-BE49-F238E27FC236}">
                  <a16:creationId xmlns:a16="http://schemas.microsoft.com/office/drawing/2014/main" id="{FCA687CE-9E35-4D6A-944A-FC00F3460F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>
              <a:extLst>
                <a:ext uri="{FF2B5EF4-FFF2-40B4-BE49-F238E27FC236}">
                  <a16:creationId xmlns:a16="http://schemas.microsoft.com/office/drawing/2014/main" id="{DCB0E43B-552A-41A8-B993-E39CB5322F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>
              <a:extLst>
                <a:ext uri="{FF2B5EF4-FFF2-40B4-BE49-F238E27FC236}">
                  <a16:creationId xmlns:a16="http://schemas.microsoft.com/office/drawing/2014/main" id="{D014A6D8-9834-4A76-9F36-D2EF073F62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>
              <a:extLst>
                <a:ext uri="{FF2B5EF4-FFF2-40B4-BE49-F238E27FC236}">
                  <a16:creationId xmlns:a16="http://schemas.microsoft.com/office/drawing/2014/main" id="{30093EEF-70EE-4959-9F84-751BEC49E3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>
            <a:extLst>
              <a:ext uri="{FF2B5EF4-FFF2-40B4-BE49-F238E27FC236}">
                <a16:creationId xmlns:a16="http://schemas.microsoft.com/office/drawing/2014/main" id="{E6FFCE32-3AAA-4A3B-B4EB-57D4A4FC1C0D}"/>
              </a:ext>
            </a:extLst>
          </p:cNvPr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35" name="LineLegend1">
              <a:extLst>
                <a:ext uri="{FF2B5EF4-FFF2-40B4-BE49-F238E27FC236}">
                  <a16:creationId xmlns:a16="http://schemas.microsoft.com/office/drawing/2014/main" id="{B97AA003-0059-40F9-AC91-A2D0CBF95AF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36" name="LineLegend2">
              <a:extLst>
                <a:ext uri="{FF2B5EF4-FFF2-40B4-BE49-F238E27FC236}">
                  <a16:creationId xmlns:a16="http://schemas.microsoft.com/office/drawing/2014/main" id="{283B94CE-BE79-457D-9851-18541CBD16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37" name="LineLegend3">
              <a:extLst>
                <a:ext uri="{FF2B5EF4-FFF2-40B4-BE49-F238E27FC236}">
                  <a16:creationId xmlns:a16="http://schemas.microsoft.com/office/drawing/2014/main" id="{3CCF2AA8-98D0-4A9B-A45B-CB7323751FA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38" name="Legend1">
              <a:extLst>
                <a:ext uri="{FF2B5EF4-FFF2-40B4-BE49-F238E27FC236}">
                  <a16:creationId xmlns:a16="http://schemas.microsoft.com/office/drawing/2014/main" id="{C9FB043F-7DB0-4D69-AB7A-91151865872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>
              <a:extLst>
                <a:ext uri="{FF2B5EF4-FFF2-40B4-BE49-F238E27FC236}">
                  <a16:creationId xmlns:a16="http://schemas.microsoft.com/office/drawing/2014/main" id="{76CD4B88-2C3B-4E03-BC25-B7D806473CD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>
              <a:extLst>
                <a:ext uri="{FF2B5EF4-FFF2-40B4-BE49-F238E27FC236}">
                  <a16:creationId xmlns:a16="http://schemas.microsoft.com/office/drawing/2014/main" id="{CDA6678C-B245-4065-8433-A6EC29E034E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EA613C1E-CE2D-4B0F-B8B5-2CA90643A9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42" name="Oval" hidden="1">
            <a:extLst>
              <a:ext uri="{FF2B5EF4-FFF2-40B4-BE49-F238E27FC236}">
                <a16:creationId xmlns:a16="http://schemas.microsoft.com/office/drawing/2014/main" id="{E6E5AE0D-060E-420B-8B45-E656165B0F93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43" name="Rectangle" hidden="1">
            <a:extLst>
              <a:ext uri="{FF2B5EF4-FFF2-40B4-BE49-F238E27FC236}">
                <a16:creationId xmlns:a16="http://schemas.microsoft.com/office/drawing/2014/main" id="{B37ED2D6-15A7-4D16-92FD-BE4B50CE55EF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44" name="RoundedRectangle" hidden="1">
            <a:extLst>
              <a:ext uri="{FF2B5EF4-FFF2-40B4-BE49-F238E27FC236}">
                <a16:creationId xmlns:a16="http://schemas.microsoft.com/office/drawing/2014/main" id="{75F735C8-9334-4934-878D-595A6E4134A8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45" name="Arrow" hidden="1">
            <a:extLst>
              <a:ext uri="{FF2B5EF4-FFF2-40B4-BE49-F238E27FC236}">
                <a16:creationId xmlns:a16="http://schemas.microsoft.com/office/drawing/2014/main" id="{BECCA35E-19CC-408C-A62C-3BD6C48B66F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46" name="DirArrow" hidden="1">
            <a:extLst>
              <a:ext uri="{FF2B5EF4-FFF2-40B4-BE49-F238E27FC236}">
                <a16:creationId xmlns:a16="http://schemas.microsoft.com/office/drawing/2014/main" id="{CAC88EB3-6CA0-4CEF-B729-098B780C9453}"/>
              </a:ext>
            </a:extLst>
          </p:cNvPr>
          <p:cNvSpPr>
            <a:spLocks/>
          </p:cNvSpPr>
          <p:nvPr userDrawn="1">
            <p:custDataLst>
              <p:tags r:id="rId20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7" name="Group 46" hidden="1">
            <a:extLst>
              <a:ext uri="{FF2B5EF4-FFF2-40B4-BE49-F238E27FC236}">
                <a16:creationId xmlns:a16="http://schemas.microsoft.com/office/drawing/2014/main" id="{02D4307F-C170-4291-89AB-3B829657EDF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48" name="Freeform 217">
              <a:extLst>
                <a:ext uri="{FF2B5EF4-FFF2-40B4-BE49-F238E27FC236}">
                  <a16:creationId xmlns:a16="http://schemas.microsoft.com/office/drawing/2014/main" id="{96E3572A-7071-4AB1-BD5F-EED203BFB83A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C178F7D-01D1-4C14-A84A-6448A50465E0}"/>
                </a:ext>
              </a:extLst>
            </p:cNvPr>
            <p:cNvSpPr txBox="1"/>
            <p:nvPr>
              <p:custDataLst>
                <p:tags r:id="rId63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0" name="Group 49" hidden="1">
            <a:extLst>
              <a:ext uri="{FF2B5EF4-FFF2-40B4-BE49-F238E27FC236}">
                <a16:creationId xmlns:a16="http://schemas.microsoft.com/office/drawing/2014/main" id="{87103311-F83C-4C7F-A918-6CCBB5ED666D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51" name="Freeform 213">
              <a:extLst>
                <a:ext uri="{FF2B5EF4-FFF2-40B4-BE49-F238E27FC236}">
                  <a16:creationId xmlns:a16="http://schemas.microsoft.com/office/drawing/2014/main" id="{B1AEE2A4-35DA-4A81-97E6-CD4C4CEF5391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0B007BB-B37E-454D-8592-310B476EA51C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53" name="Freeform 215">
              <a:extLst>
                <a:ext uri="{FF2B5EF4-FFF2-40B4-BE49-F238E27FC236}">
                  <a16:creationId xmlns:a16="http://schemas.microsoft.com/office/drawing/2014/main" id="{18313D6A-AF2E-4E42-8562-4435C63D86AB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63280B5-96D8-4A53-9484-7FAE0C7E9195}"/>
                </a:ext>
              </a:extLst>
            </p:cNvPr>
            <p:cNvSpPr txBox="1"/>
            <p:nvPr>
              <p:custDataLst>
                <p:tags r:id="rId61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55" name="SingleChevron" hidden="1">
            <a:extLst>
              <a:ext uri="{FF2B5EF4-FFF2-40B4-BE49-F238E27FC236}">
                <a16:creationId xmlns:a16="http://schemas.microsoft.com/office/drawing/2014/main" id="{8A862499-1256-4D85-9865-AFFF9EB83339}"/>
              </a:ext>
            </a:extLst>
          </p:cNvPr>
          <p:cNvSpPr>
            <a:spLocks noChangeAspect="1"/>
          </p:cNvSpPr>
          <p:nvPr userDrawn="1">
            <p:custDataLst>
              <p:tags r:id="rId23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56" name="Group 55" hidden="1">
            <a:extLst>
              <a:ext uri="{FF2B5EF4-FFF2-40B4-BE49-F238E27FC236}">
                <a16:creationId xmlns:a16="http://schemas.microsoft.com/office/drawing/2014/main" id="{DF59DC44-D667-4229-9CEC-2D013D66DCA5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57" name="Chevron1">
              <a:extLst>
                <a:ext uri="{FF2B5EF4-FFF2-40B4-BE49-F238E27FC236}">
                  <a16:creationId xmlns:a16="http://schemas.microsoft.com/office/drawing/2014/main" id="{00E1E299-F162-4D49-B32B-6622A084FD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58" name="Chevron2">
              <a:extLst>
                <a:ext uri="{FF2B5EF4-FFF2-40B4-BE49-F238E27FC236}">
                  <a16:creationId xmlns:a16="http://schemas.microsoft.com/office/drawing/2014/main" id="{9B65E16A-EEFF-413B-855B-7E9098B83F6F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 hidden="1">
            <a:extLst>
              <a:ext uri="{FF2B5EF4-FFF2-40B4-BE49-F238E27FC236}">
                <a16:creationId xmlns:a16="http://schemas.microsoft.com/office/drawing/2014/main" id="{2FBE1FE3-557A-412D-9BAB-0178E52983C9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60" name="Chevron1">
              <a:extLst>
                <a:ext uri="{FF2B5EF4-FFF2-40B4-BE49-F238E27FC236}">
                  <a16:creationId xmlns:a16="http://schemas.microsoft.com/office/drawing/2014/main" id="{C6187046-70E2-4CD4-B97F-FF719D9811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61" name="Chevron2">
              <a:extLst>
                <a:ext uri="{FF2B5EF4-FFF2-40B4-BE49-F238E27FC236}">
                  <a16:creationId xmlns:a16="http://schemas.microsoft.com/office/drawing/2014/main" id="{0DFAC68A-12C6-48DA-BECF-5B346A256DDA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2" name="EmptyMoon" hidden="1">
            <a:extLst>
              <a:ext uri="{FF2B5EF4-FFF2-40B4-BE49-F238E27FC236}">
                <a16:creationId xmlns:a16="http://schemas.microsoft.com/office/drawing/2014/main" id="{A951FAC1-85BB-4BF7-8061-B66C2F7F987C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77B2389F-8591-4BDC-BB82-241085ECC609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64" name="Arc 63">
              <a:extLst>
                <a:ext uri="{FF2B5EF4-FFF2-40B4-BE49-F238E27FC236}">
                  <a16:creationId xmlns:a16="http://schemas.microsoft.com/office/drawing/2014/main" id="{9F3DA161-45D9-406E-B0D7-041DF6B072E8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65" name="QuaterMoon" hidden="1">
            <a:extLst>
              <a:ext uri="{FF2B5EF4-FFF2-40B4-BE49-F238E27FC236}">
                <a16:creationId xmlns:a16="http://schemas.microsoft.com/office/drawing/2014/main" id="{D0DFCC7A-6B72-42F0-AF9D-3017B8367567}"/>
              </a:ext>
            </a:extLst>
          </p:cNvPr>
          <p:cNvGrpSpPr>
            <a:grpSpLocks noChangeAspect="1"/>
          </p:cNvGrpSpPr>
          <p:nvPr userDrawn="1">
            <p:custDataLst>
              <p:tags r:id="rId27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9B1ED5D-4874-4777-A1A0-F31A4C8AC5E3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:a16="http://schemas.microsoft.com/office/drawing/2014/main" id="{4CB3AB56-1C6D-49EB-A9AD-CF9AB229EF4D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68" name="HalfMoon" hidden="1">
            <a:extLst>
              <a:ext uri="{FF2B5EF4-FFF2-40B4-BE49-F238E27FC236}">
                <a16:creationId xmlns:a16="http://schemas.microsoft.com/office/drawing/2014/main" id="{FA345EAF-7FD9-4D2B-B8AD-EA8D89FBA668}"/>
              </a:ext>
            </a:extLst>
          </p:cNvPr>
          <p:cNvGrpSpPr>
            <a:grpSpLocks noChangeAspect="1"/>
          </p:cNvGrpSpPr>
          <p:nvPr userDrawn="1">
            <p:custDataLst>
              <p:tags r:id="rId28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A66EDB33-99CE-4CAA-A68B-2B353C1DFC8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70" name="Arc 69">
              <a:extLst>
                <a:ext uri="{FF2B5EF4-FFF2-40B4-BE49-F238E27FC236}">
                  <a16:creationId xmlns:a16="http://schemas.microsoft.com/office/drawing/2014/main" id="{D1CF5EE2-6957-4D16-BF08-F6783DE4D874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71" name="3QuaterMoon" hidden="1">
            <a:extLst>
              <a:ext uri="{FF2B5EF4-FFF2-40B4-BE49-F238E27FC236}">
                <a16:creationId xmlns:a16="http://schemas.microsoft.com/office/drawing/2014/main" id="{4DAE0812-BD8B-49A0-9B76-4F4F22CDD2A6}"/>
              </a:ext>
            </a:extLst>
          </p:cNvPr>
          <p:cNvGrpSpPr>
            <a:grpSpLocks noChangeAspect="1"/>
          </p:cNvGrpSpPr>
          <p:nvPr userDrawn="1">
            <p:custDataLst>
              <p:tags r:id="rId29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9F3E5F20-9C3F-435C-8C91-C5A43BEC6AC4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73" name="Arc 72">
              <a:extLst>
                <a:ext uri="{FF2B5EF4-FFF2-40B4-BE49-F238E27FC236}">
                  <a16:creationId xmlns:a16="http://schemas.microsoft.com/office/drawing/2014/main" id="{C28D93B7-A59B-49A4-89E3-747CEE4502B5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74" name="FullMoon" hidden="1">
            <a:extLst>
              <a:ext uri="{FF2B5EF4-FFF2-40B4-BE49-F238E27FC236}">
                <a16:creationId xmlns:a16="http://schemas.microsoft.com/office/drawing/2014/main" id="{3F5CFAD2-ABC9-48A1-A8E8-EC34689B6A4C}"/>
              </a:ext>
            </a:extLst>
          </p:cNvPr>
          <p:cNvGrpSpPr>
            <a:grpSpLocks noChangeAspect="1"/>
          </p:cNvGrpSpPr>
          <p:nvPr userDrawn="1">
            <p:custDataLst>
              <p:tags r:id="rId30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F0679BAE-F71E-4B6E-8C4D-46859648EE79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76" name="Arc 75">
              <a:extLst>
                <a:ext uri="{FF2B5EF4-FFF2-40B4-BE49-F238E27FC236}">
                  <a16:creationId xmlns:a16="http://schemas.microsoft.com/office/drawing/2014/main" id="{4EDF0C6C-E3BC-4D05-905E-9D8C04D2951A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77" name="LegendMoons" hidden="1">
            <a:extLst>
              <a:ext uri="{FF2B5EF4-FFF2-40B4-BE49-F238E27FC236}">
                <a16:creationId xmlns:a16="http://schemas.microsoft.com/office/drawing/2014/main" id="{82077293-6F29-46C6-8A2A-C8BAE32CC59A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78" name="MoonLegend1">
              <a:extLst>
                <a:ext uri="{FF2B5EF4-FFF2-40B4-BE49-F238E27FC236}">
                  <a16:creationId xmlns:a16="http://schemas.microsoft.com/office/drawing/2014/main" id="{B3E5FF56-4585-4FF9-98DB-14A472E822C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6" name="Oval 38">
                <a:extLst>
                  <a:ext uri="{FF2B5EF4-FFF2-40B4-BE49-F238E27FC236}">
                    <a16:creationId xmlns:a16="http://schemas.microsoft.com/office/drawing/2014/main" id="{5FE6FF7E-4587-409B-A559-79B1A41E2E5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97" name="Arc 39">
                <a:extLst>
                  <a:ext uri="{FF2B5EF4-FFF2-40B4-BE49-F238E27FC236}">
                    <a16:creationId xmlns:a16="http://schemas.microsoft.com/office/drawing/2014/main" id="{9FF2FC36-D390-4175-AF0A-AF5F829640A9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79" name="MoonLegend2">
              <a:extLst>
                <a:ext uri="{FF2B5EF4-FFF2-40B4-BE49-F238E27FC236}">
                  <a16:creationId xmlns:a16="http://schemas.microsoft.com/office/drawing/2014/main" id="{5698DD8A-7AA4-49E3-A33F-AAD09A0AA3C0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4" name="Oval 41">
                <a:extLst>
                  <a:ext uri="{FF2B5EF4-FFF2-40B4-BE49-F238E27FC236}">
                    <a16:creationId xmlns:a16="http://schemas.microsoft.com/office/drawing/2014/main" id="{1468906A-725B-4C3A-A5AD-C48F8F9CFD0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95" name="Arc 42">
                <a:extLst>
                  <a:ext uri="{FF2B5EF4-FFF2-40B4-BE49-F238E27FC236}">
                    <a16:creationId xmlns:a16="http://schemas.microsoft.com/office/drawing/2014/main" id="{B7C3C93F-ECD3-4B41-8B22-FBE358A68ED9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80" name="MoonLegend4">
              <a:extLst>
                <a:ext uri="{FF2B5EF4-FFF2-40B4-BE49-F238E27FC236}">
                  <a16:creationId xmlns:a16="http://schemas.microsoft.com/office/drawing/2014/main" id="{644B0ACB-D957-4C6A-AD5A-7320891CA4E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2" name="Oval 47">
                <a:extLst>
                  <a:ext uri="{FF2B5EF4-FFF2-40B4-BE49-F238E27FC236}">
                    <a16:creationId xmlns:a16="http://schemas.microsoft.com/office/drawing/2014/main" id="{376F8A7F-3123-4CD5-B14A-9484E217E8E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93" name="Arc 48">
                <a:extLst>
                  <a:ext uri="{FF2B5EF4-FFF2-40B4-BE49-F238E27FC236}">
                    <a16:creationId xmlns:a16="http://schemas.microsoft.com/office/drawing/2014/main" id="{8A54598E-FDFE-4F69-B94C-AB467ACBB177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81" name="MoonLegend5">
              <a:extLst>
                <a:ext uri="{FF2B5EF4-FFF2-40B4-BE49-F238E27FC236}">
                  <a16:creationId xmlns:a16="http://schemas.microsoft.com/office/drawing/2014/main" id="{5AEAFE95-EB3B-4008-9542-7A4DB9B7300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0" name="Oval 50">
                <a:extLst>
                  <a:ext uri="{FF2B5EF4-FFF2-40B4-BE49-F238E27FC236}">
                    <a16:creationId xmlns:a16="http://schemas.microsoft.com/office/drawing/2014/main" id="{A9067B75-857B-4507-BFF2-9D52860D38F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91" name="Oval 51">
                <a:extLst>
                  <a:ext uri="{FF2B5EF4-FFF2-40B4-BE49-F238E27FC236}">
                    <a16:creationId xmlns:a16="http://schemas.microsoft.com/office/drawing/2014/main" id="{70E7CE7E-8210-48CC-B82B-DE7F5BCCD8A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82" name="Legend1">
              <a:extLst>
                <a:ext uri="{FF2B5EF4-FFF2-40B4-BE49-F238E27FC236}">
                  <a16:creationId xmlns:a16="http://schemas.microsoft.com/office/drawing/2014/main" id="{A1B014EB-4155-4E81-8D6C-D2840AC11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83" name="Legend2">
              <a:extLst>
                <a:ext uri="{FF2B5EF4-FFF2-40B4-BE49-F238E27FC236}">
                  <a16:creationId xmlns:a16="http://schemas.microsoft.com/office/drawing/2014/main" id="{1B93E722-CCED-4B2B-82B9-9227A5E63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84" name="Legend3">
              <a:extLst>
                <a:ext uri="{FF2B5EF4-FFF2-40B4-BE49-F238E27FC236}">
                  <a16:creationId xmlns:a16="http://schemas.microsoft.com/office/drawing/2014/main" id="{9EE2EC45-3CBE-4AFB-B3B7-67F69F40C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85" name="Legend4">
              <a:extLst>
                <a:ext uri="{FF2B5EF4-FFF2-40B4-BE49-F238E27FC236}">
                  <a16:creationId xmlns:a16="http://schemas.microsoft.com/office/drawing/2014/main" id="{D3F4762A-380B-4742-A87C-071C4F451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86" name="Legend5">
              <a:extLst>
                <a:ext uri="{FF2B5EF4-FFF2-40B4-BE49-F238E27FC236}">
                  <a16:creationId xmlns:a16="http://schemas.microsoft.com/office/drawing/2014/main" id="{E64322FE-EF48-4761-908A-8E92940E2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87" name="MoonLegend3">
              <a:extLst>
                <a:ext uri="{FF2B5EF4-FFF2-40B4-BE49-F238E27FC236}">
                  <a16:creationId xmlns:a16="http://schemas.microsoft.com/office/drawing/2014/main" id="{C6596099-FF78-4621-ABBF-D47FBDBDDB68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8" name="Oval 47">
                <a:extLst>
                  <a:ext uri="{FF2B5EF4-FFF2-40B4-BE49-F238E27FC236}">
                    <a16:creationId xmlns:a16="http://schemas.microsoft.com/office/drawing/2014/main" id="{29630B52-B849-42BB-B7FA-C8BCD0B4F78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89" name="Arc 48">
                <a:extLst>
                  <a:ext uri="{FF2B5EF4-FFF2-40B4-BE49-F238E27FC236}">
                    <a16:creationId xmlns:a16="http://schemas.microsoft.com/office/drawing/2014/main" id="{9B105B3C-0FFC-425A-BF4E-D53B6C7A554D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8888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9908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688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04353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860F85-47E9-4B23-BE15-260538276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6599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8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9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bi.nlm.nih.gov/pubmed/26320113" TargetMode="External"/><Relationship Id="rId1" Type="http://schemas.openxmlformats.org/officeDocument/2006/relationships/slideLayout" Target="../slideLayouts/slideLayout10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675747" y="1774589"/>
            <a:ext cx="9299526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Как диагностируется легочная артериальная гипертензия (ЛАГ)</a:t>
            </a:r>
            <a:endParaRPr lang="ru-RU" sz="4000" b="1" i="1" dirty="0">
              <a:solidFill>
                <a:prstClr val="black"/>
              </a:solidFill>
              <a:latin typeface="Museo Sans Cyrl 100" panose="02000000000000000000" pitchFamily="2" charset="-52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6C319C23-023C-4D6F-9844-F145B4B6B090}"/>
              </a:ext>
            </a:extLst>
          </p:cNvPr>
          <p:cNvCxnSpPr/>
          <p:nvPr/>
        </p:nvCxnSpPr>
        <p:spPr>
          <a:xfrm>
            <a:off x="1242060" y="3797309"/>
            <a:ext cx="4853940" cy="0"/>
          </a:xfrm>
          <a:prstGeom prst="line">
            <a:avLst/>
          </a:prstGeom>
          <a:ln w="79375" cap="sq">
            <a:solidFill>
              <a:srgbClr val="CC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63041" y="5511581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3104" y="32450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58269" y="6012775"/>
            <a:ext cx="2183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</a:t>
            </a: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P-242216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152554" y="6259259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2215C6C6-E45C-4179-9FC1-E8A4C1D47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FE9FE4C-C9E0-4C54-8010-EA9D29CD4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>
            <a:off x="-1564726" y="1890469"/>
            <a:ext cx="5860051" cy="2079143"/>
            <a:chOff x="6081624" y="1998368"/>
            <a:chExt cx="5613457" cy="782175"/>
          </a:xfrm>
          <a:solidFill>
            <a:schemeClr val="accent4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6FAD6EF-0374-46BD-901E-E901DCA01F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228040" y="2313027"/>
              <a:ext cx="781700" cy="15238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4847ABE-275E-4DCA-B164-A672D517FB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6081624" y="1998844"/>
              <a:ext cx="5372968" cy="7816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3776B14B-F2F4-4825-8DA8-8C7A0F2B3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9528" y="466344"/>
            <a:ext cx="11111729" cy="59178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Graphical user interface, text, application, letter, email&#10;&#10;Description automatically generated">
            <a:extLst>
              <a:ext uri="{FF2B5EF4-FFF2-40B4-BE49-F238E27FC236}">
                <a16:creationId xmlns:a16="http://schemas.microsoft.com/office/drawing/2014/main" id="{AFAA8ED4-7972-406A-9C27-EB7676DD8FA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" b="1485"/>
          <a:stretch/>
        </p:blipFill>
        <p:spPr>
          <a:xfrm>
            <a:off x="838200" y="704765"/>
            <a:ext cx="10628376" cy="544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884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90A5F0-79E3-4614-9DF6-4FD748D3712B}"/>
              </a:ext>
            </a:extLst>
          </p:cNvPr>
          <p:cNvSpPr/>
          <p:nvPr/>
        </p:nvSpPr>
        <p:spPr>
          <a:xfrm>
            <a:off x="564718" y="999542"/>
            <a:ext cx="11174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горитм диагностики ЛАГ (Европейские клинические рекомендации)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4BDB069-0515-4A98-85C9-FCF3CDC68655}"/>
              </a:ext>
            </a:extLst>
          </p:cNvPr>
          <p:cNvSpPr txBox="1">
            <a:spLocks/>
          </p:cNvSpPr>
          <p:nvPr/>
        </p:nvSpPr>
        <p:spPr>
          <a:xfrm>
            <a:off x="229065" y="6461780"/>
            <a:ext cx="11312526" cy="373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è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; 37:67-119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B15A8B-0C98-468F-8E8C-F2DDAC59D7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19" y="1612260"/>
            <a:ext cx="11342768" cy="486354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300623" y="1692036"/>
            <a:ext cx="3169410" cy="16158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имптомы, жалобы, данные анамнеза,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казывающие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на ЛАГ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30453" y="2074895"/>
            <a:ext cx="284704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ероятность ЛГ по данным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хоКГ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12604" y="2298789"/>
            <a:ext cx="125319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сокая или средня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638127" y="2299560"/>
            <a:ext cx="45944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зкая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02017" y="2611553"/>
            <a:ext cx="4239490" cy="5397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ключить заболевания левых отделов сердца и болезни легких на основании симптомов, жалоб, факторов риска, ЭКГ, ФВД+DLCO, рентгенографии органов грудной клетки и КТВР, газового анализа артериальной кров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21762" y="3531597"/>
            <a:ext cx="518838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73255" y="3805414"/>
            <a:ext cx="1497013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т признаков тяжелой ЛГ/дисфункции ПЖ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11120" y="4400990"/>
            <a:ext cx="1497013" cy="3006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ечение основного заболевания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7168" y="5191946"/>
            <a:ext cx="1897581" cy="5905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бедиться в том, что основное заболевание сердца или легких не является причиной симптомов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41582" y="5219326"/>
            <a:ext cx="2066925" cy="4396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ХТЭЛГ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Т-ангиография легких, КПОС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+/- КТ-ангиография легких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805256" y="4816979"/>
            <a:ext cx="347663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34005" y="4733908"/>
            <a:ext cx="1050350" cy="3006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равление в специализированный </a:t>
            </a:r>
            <a:b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ентр лечения ЛГ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50681" y="3807669"/>
            <a:ext cx="347663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т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880299" y="5944672"/>
            <a:ext cx="1770997" cy="3651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АГ вероятн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ецифические диагностические исследова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39479" y="4089030"/>
            <a:ext cx="2052638" cy="3543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ПС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рушение перфузии?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600575" y="3381759"/>
            <a:ext cx="2395538" cy="3543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иагноз заболеваний левых отделов сердца или легких подтвержден?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20186" y="4814551"/>
            <a:ext cx="347663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т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86450" y="5368148"/>
            <a:ext cx="347663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93879" y="5230970"/>
            <a:ext cx="2182029" cy="44307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ПОС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ДЛА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≥20 мм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т.ст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, ДЗЛ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≤ 15 мм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т.ст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, ЛСС &gt; 3 единиц Вуд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456885" y="4441315"/>
            <a:ext cx="1225580" cy="3006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равление в специализированный центр лечения ЛГ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575944" y="3481984"/>
            <a:ext cx="347663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873013" y="2622477"/>
            <a:ext cx="1661386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ключить другие причины и/или проводить динамическое наблюдение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205663" y="3821097"/>
            <a:ext cx="1569245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знаки тяжелой ЛГ/дисфункции ПЖ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9131765" y="1883675"/>
            <a:ext cx="2409826" cy="4972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 подозрении на ЛАГ рекомендуется проведение Эхо-КГ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9637600" y="4058261"/>
            <a:ext cx="2052639" cy="4972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комендовано направление в специализированный центр лечения ЛГ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035332" y="5975293"/>
            <a:ext cx="2409826" cy="33786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дтверждения диагноза необходима катетеризация правых отделов сердц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449482" y="5197357"/>
            <a:ext cx="1214437" cy="4384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ключить другие причины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916935" y="5229649"/>
            <a:ext cx="347663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т</a:t>
            </a:r>
          </a:p>
        </p:txBody>
      </p:sp>
    </p:spTree>
    <p:extLst>
      <p:ext uri="{BB962C8B-B14F-4D97-AF65-F5344CB8AC3E}">
        <p14:creationId xmlns:p14="http://schemas.microsoft.com/office/powerpoint/2010/main" val="3154254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4CC153B-EA6C-440E-871D-2019E821984D}"/>
              </a:ext>
            </a:extLst>
          </p:cNvPr>
          <p:cNvSpPr/>
          <p:nvPr/>
        </p:nvSpPr>
        <p:spPr>
          <a:xfrm>
            <a:off x="222285" y="1128086"/>
            <a:ext cx="122255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агностика ЛАГ затруднена в связи с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специфичностью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ее симптомов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 на ранних этапах заболевания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5DAC76-9EAB-4DD5-BDA3-1B62616C2558}"/>
              </a:ext>
            </a:extLst>
          </p:cNvPr>
          <p:cNvSpPr txBox="1">
            <a:spLocks/>
          </p:cNvSpPr>
          <p:nvPr/>
        </p:nvSpPr>
        <p:spPr>
          <a:xfrm>
            <a:off x="244879" y="6370815"/>
            <a:ext cx="10466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zation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re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orders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ORD). https://rarediseases.org/rare-diseases/pulmonary-arterial-hypertension/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st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ed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0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1243773-F003-420F-A23F-6EDB8DF11A29}"/>
              </a:ext>
            </a:extLst>
          </p:cNvPr>
          <p:cNvGrpSpPr/>
          <p:nvPr/>
        </p:nvGrpSpPr>
        <p:grpSpPr>
          <a:xfrm>
            <a:off x="5165612" y="2547964"/>
            <a:ext cx="1867590" cy="1868076"/>
            <a:chOff x="1690682" y="1745673"/>
            <a:chExt cx="1867590" cy="1868076"/>
          </a:xfrm>
          <a:solidFill>
            <a:schemeClr val="accent5"/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C469AB2-69ED-41A3-8CE8-52B0C1380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259" y="1919296"/>
              <a:ext cx="1521537" cy="1521933"/>
            </a:xfrm>
            <a:prstGeom prst="ellipse">
              <a:avLst/>
            </a:prstGeom>
            <a:solidFill>
              <a:srgbClr val="5160AB"/>
            </a:solidFill>
            <a:ln>
              <a:noFill/>
            </a:ln>
          </p:spPr>
          <p:txBody>
            <a:bodyPr vert="horz" wrap="square" lIns="91422" tIns="45711" rIns="91422" bIns="4571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F630884-8FC0-4833-869A-A3B2C83721EE}"/>
                </a:ext>
              </a:extLst>
            </p:cNvPr>
            <p:cNvGrpSpPr/>
            <p:nvPr/>
          </p:nvGrpSpPr>
          <p:grpSpPr>
            <a:xfrm>
              <a:off x="1690682" y="1745673"/>
              <a:ext cx="1867590" cy="1868076"/>
              <a:chOff x="3800237" y="2257147"/>
              <a:chExt cx="1868076" cy="1868076"/>
            </a:xfrm>
            <a:grpFill/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5B91DCCF-4D4E-457B-9246-4A9D5E2A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020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EC44987-7A2C-41E8-8F4A-D7E3D7ADB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252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8F741F60-A280-4214-80A5-AF722084A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110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6ADC0D2A-7237-48B0-93EA-C0C4A6F06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110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94100656-AE0D-4253-BBD9-5023352FB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020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36970BD5-2AC7-4873-82A2-D3D7C4922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252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03D94F45-7287-4C04-96A6-8224F6665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7036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1077BB3E-36B7-43E8-9A6B-DF74E904B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595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ED6B3C58-514C-434B-9A64-324D956EF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237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160AB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7152BEEC-16FD-41FC-993A-F2273E56F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237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rgbClr val="5160AB">
                  <a:alpha val="25000"/>
                </a:srgbClr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E0865AE9-D3E2-4DB1-91A6-1FCCFC5F1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595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rgbClr val="5160AB">
                  <a:alpha val="25000"/>
                </a:srgbClr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BE165830-1132-4327-BE57-A01ACA3D2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7036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rgbClr val="5160AB">
                  <a:alpha val="25000"/>
                </a:srgbClr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96A3122-77D9-4F76-A8E7-CED4FA55380B}"/>
              </a:ext>
            </a:extLst>
          </p:cNvPr>
          <p:cNvGrpSpPr/>
          <p:nvPr/>
        </p:nvGrpSpPr>
        <p:grpSpPr>
          <a:xfrm>
            <a:off x="1568759" y="2525987"/>
            <a:ext cx="1867590" cy="1868076"/>
            <a:chOff x="1568759" y="2097362"/>
            <a:chExt cx="1867590" cy="186807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666460A-74E4-44CE-B736-27D7D106CD9F}"/>
                </a:ext>
              </a:extLst>
            </p:cNvPr>
            <p:cNvGrpSpPr/>
            <p:nvPr/>
          </p:nvGrpSpPr>
          <p:grpSpPr>
            <a:xfrm>
              <a:off x="1568759" y="2097362"/>
              <a:ext cx="1867590" cy="1868076"/>
              <a:chOff x="1690682" y="1745673"/>
              <a:chExt cx="1867590" cy="1868076"/>
            </a:xfrm>
          </p:grpSpPr>
          <p:sp>
            <p:nvSpPr>
              <p:cNvPr id="23" name="Oval 5">
                <a:extLst>
                  <a:ext uri="{FF2B5EF4-FFF2-40B4-BE49-F238E27FC236}">
                    <a16:creationId xmlns:a16="http://schemas.microsoft.com/office/drawing/2014/main" id="{67E44E53-400B-4A98-8E21-868BF1A92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4259" y="1919296"/>
                <a:ext cx="1521537" cy="1521933"/>
              </a:xfrm>
              <a:prstGeom prst="ellipse">
                <a:avLst/>
              </a:prstGeom>
              <a:solidFill>
                <a:srgbClr val="00B9CD"/>
              </a:solidFill>
              <a:ln>
                <a:noFill/>
              </a:ln>
            </p:spPr>
            <p:txBody>
              <a:bodyPr vert="horz" wrap="square" lIns="91422" tIns="45711" rIns="91422" bIns="4571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5F7DC881-87AF-4ECA-89A4-FAF4A2ECF889}"/>
                  </a:ext>
                </a:extLst>
              </p:cNvPr>
              <p:cNvGrpSpPr/>
              <p:nvPr/>
            </p:nvGrpSpPr>
            <p:grpSpPr>
              <a:xfrm>
                <a:off x="1690682" y="1745673"/>
                <a:ext cx="1867590" cy="1868076"/>
                <a:chOff x="3800237" y="2257147"/>
                <a:chExt cx="1868076" cy="1868076"/>
              </a:xfrm>
            </p:grpSpPr>
            <p:sp>
              <p:nvSpPr>
                <p:cNvPr id="25" name="Freeform 6">
                  <a:extLst>
                    <a:ext uri="{FF2B5EF4-FFF2-40B4-BE49-F238E27FC236}">
                      <a16:creationId xmlns:a16="http://schemas.microsoft.com/office/drawing/2014/main" id="{BDA918CA-461E-4DCD-BD0F-D0D807CEB0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6020" y="2394505"/>
                  <a:ext cx="356034" cy="354935"/>
                </a:xfrm>
                <a:custGeom>
                  <a:avLst/>
                  <a:gdLst>
                    <a:gd name="T0" fmla="*/ 207 w 207"/>
                    <a:gd name="T1" fmla="*/ 181 h 206"/>
                    <a:gd name="T2" fmla="*/ 26 w 207"/>
                    <a:gd name="T3" fmla="*/ 0 h 206"/>
                    <a:gd name="T4" fmla="*/ 0 w 207"/>
                    <a:gd name="T5" fmla="*/ 44 h 206"/>
                    <a:gd name="T6" fmla="*/ 163 w 207"/>
                    <a:gd name="T7" fmla="*/ 206 h 206"/>
                    <a:gd name="T8" fmla="*/ 207 w 207"/>
                    <a:gd name="T9" fmla="*/ 181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7" h="206">
                      <a:moveTo>
                        <a:pt x="207" y="181"/>
                      </a:moveTo>
                      <a:cubicBezTo>
                        <a:pt x="162" y="107"/>
                        <a:pt x="100" y="45"/>
                        <a:pt x="26" y="0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66" y="85"/>
                        <a:pt x="122" y="140"/>
                        <a:pt x="163" y="206"/>
                      </a:cubicBezTo>
                      <a:lnTo>
                        <a:pt x="207" y="181"/>
                      </a:ln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Freeform 7">
                  <a:extLst>
                    <a:ext uri="{FF2B5EF4-FFF2-40B4-BE49-F238E27FC236}">
                      <a16:creationId xmlns:a16="http://schemas.microsoft.com/office/drawing/2014/main" id="{3A90D53E-66E2-4368-ACDE-E5BAECB0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6252" y="2257147"/>
                  <a:ext cx="427460" cy="191203"/>
                </a:xfrm>
                <a:custGeom>
                  <a:avLst/>
                  <a:gdLst>
                    <a:gd name="T0" fmla="*/ 0 w 248"/>
                    <a:gd name="T1" fmla="*/ 0 h 111"/>
                    <a:gd name="T2" fmla="*/ 0 w 248"/>
                    <a:gd name="T3" fmla="*/ 51 h 111"/>
                    <a:gd name="T4" fmla="*/ 222 w 248"/>
                    <a:gd name="T5" fmla="*/ 111 h 111"/>
                    <a:gd name="T6" fmla="*/ 248 w 248"/>
                    <a:gd name="T7" fmla="*/ 67 h 111"/>
                    <a:gd name="T8" fmla="*/ 0 w 248"/>
                    <a:gd name="T9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8" h="111">
                      <a:moveTo>
                        <a:pt x="0" y="0"/>
                      </a:move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80" y="53"/>
                        <a:pt x="156" y="75"/>
                        <a:pt x="222" y="111"/>
                      </a:cubicBezTo>
                      <a:cubicBezTo>
                        <a:pt x="248" y="67"/>
                        <a:pt x="248" y="67"/>
                        <a:pt x="248" y="67"/>
                      </a:cubicBezTo>
                      <a:cubicBezTo>
                        <a:pt x="174" y="26"/>
                        <a:pt x="90" y="2"/>
                        <a:pt x="0" y="0"/>
                      </a:cubicBez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Freeform 8">
                  <a:extLst>
                    <a:ext uri="{FF2B5EF4-FFF2-40B4-BE49-F238E27FC236}">
                      <a16:creationId xmlns:a16="http://schemas.microsoft.com/office/drawing/2014/main" id="{5B45821B-0D41-4137-9CF9-9B54B69F16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7110" y="2743946"/>
                  <a:ext cx="191203" cy="425262"/>
                </a:xfrm>
                <a:custGeom>
                  <a:avLst/>
                  <a:gdLst>
                    <a:gd name="T0" fmla="*/ 45 w 111"/>
                    <a:gd name="T1" fmla="*/ 0 h 247"/>
                    <a:gd name="T2" fmla="*/ 0 w 111"/>
                    <a:gd name="T3" fmla="*/ 26 h 247"/>
                    <a:gd name="T4" fmla="*/ 60 w 111"/>
                    <a:gd name="T5" fmla="*/ 247 h 247"/>
                    <a:gd name="T6" fmla="*/ 111 w 111"/>
                    <a:gd name="T7" fmla="*/ 247 h 247"/>
                    <a:gd name="T8" fmla="*/ 45 w 111"/>
                    <a:gd name="T9" fmla="*/ 0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1" h="247">
                      <a:moveTo>
                        <a:pt x="45" y="0"/>
                      </a:move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37" y="92"/>
                        <a:pt x="58" y="167"/>
                        <a:pt x="60" y="247"/>
                      </a:cubicBezTo>
                      <a:cubicBezTo>
                        <a:pt x="111" y="247"/>
                        <a:pt x="111" y="247"/>
                        <a:pt x="111" y="247"/>
                      </a:cubicBezTo>
                      <a:cubicBezTo>
                        <a:pt x="109" y="158"/>
                        <a:pt x="85" y="74"/>
                        <a:pt x="45" y="0"/>
                      </a:cubicBez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Freeform 9">
                  <a:extLst>
                    <a:ext uri="{FF2B5EF4-FFF2-40B4-BE49-F238E27FC236}">
                      <a16:creationId xmlns:a16="http://schemas.microsoft.com/office/drawing/2014/main" id="{2CA335FD-8ADD-40EC-B012-2254E78370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7110" y="3213162"/>
                  <a:ext cx="191203" cy="427460"/>
                </a:xfrm>
                <a:custGeom>
                  <a:avLst/>
                  <a:gdLst>
                    <a:gd name="T0" fmla="*/ 60 w 111"/>
                    <a:gd name="T1" fmla="*/ 0 h 248"/>
                    <a:gd name="T2" fmla="*/ 0 w 111"/>
                    <a:gd name="T3" fmla="*/ 222 h 248"/>
                    <a:gd name="T4" fmla="*/ 45 w 111"/>
                    <a:gd name="T5" fmla="*/ 248 h 248"/>
                    <a:gd name="T6" fmla="*/ 111 w 111"/>
                    <a:gd name="T7" fmla="*/ 0 h 248"/>
                    <a:gd name="T8" fmla="*/ 60 w 111"/>
                    <a:gd name="T9" fmla="*/ 0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1" h="248">
                      <a:moveTo>
                        <a:pt x="60" y="0"/>
                      </a:moveTo>
                      <a:cubicBezTo>
                        <a:pt x="58" y="80"/>
                        <a:pt x="37" y="156"/>
                        <a:pt x="0" y="222"/>
                      </a:cubicBezTo>
                      <a:cubicBezTo>
                        <a:pt x="45" y="248"/>
                        <a:pt x="45" y="248"/>
                        <a:pt x="45" y="248"/>
                      </a:cubicBezTo>
                      <a:cubicBezTo>
                        <a:pt x="85" y="174"/>
                        <a:pt x="109" y="90"/>
                        <a:pt x="111" y="0"/>
                      </a:cubicBez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10">
                  <a:extLst>
                    <a:ext uri="{FF2B5EF4-FFF2-40B4-BE49-F238E27FC236}">
                      <a16:creationId xmlns:a16="http://schemas.microsoft.com/office/drawing/2014/main" id="{638C58F7-7B26-47B8-A67A-42329B5993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6020" y="3632930"/>
                  <a:ext cx="356034" cy="356034"/>
                </a:xfrm>
                <a:custGeom>
                  <a:avLst/>
                  <a:gdLst>
                    <a:gd name="T0" fmla="*/ 207 w 207"/>
                    <a:gd name="T1" fmla="*/ 26 h 207"/>
                    <a:gd name="T2" fmla="*/ 163 w 207"/>
                    <a:gd name="T3" fmla="*/ 0 h 207"/>
                    <a:gd name="T4" fmla="*/ 0 w 207"/>
                    <a:gd name="T5" fmla="*/ 163 h 207"/>
                    <a:gd name="T6" fmla="*/ 26 w 207"/>
                    <a:gd name="T7" fmla="*/ 207 h 207"/>
                    <a:gd name="T8" fmla="*/ 207 w 207"/>
                    <a:gd name="T9" fmla="*/ 26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7" h="207">
                      <a:moveTo>
                        <a:pt x="207" y="26"/>
                      </a:moveTo>
                      <a:cubicBezTo>
                        <a:pt x="163" y="0"/>
                        <a:pt x="163" y="0"/>
                        <a:pt x="163" y="0"/>
                      </a:cubicBezTo>
                      <a:cubicBezTo>
                        <a:pt x="122" y="66"/>
                        <a:pt x="66" y="122"/>
                        <a:pt x="0" y="163"/>
                      </a:cubicBezTo>
                      <a:cubicBezTo>
                        <a:pt x="26" y="207"/>
                        <a:pt x="26" y="207"/>
                        <a:pt x="26" y="207"/>
                      </a:cubicBezTo>
                      <a:cubicBezTo>
                        <a:pt x="100" y="162"/>
                        <a:pt x="162" y="100"/>
                        <a:pt x="207" y="26"/>
                      </a:cubicBez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Freeform 11">
                  <a:extLst>
                    <a:ext uri="{FF2B5EF4-FFF2-40B4-BE49-F238E27FC236}">
                      <a16:creationId xmlns:a16="http://schemas.microsoft.com/office/drawing/2014/main" id="{01712138-D7BB-4D15-8B8F-FA4853F273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6252" y="3936217"/>
                  <a:ext cx="427460" cy="189006"/>
                </a:xfrm>
                <a:custGeom>
                  <a:avLst/>
                  <a:gdLst>
                    <a:gd name="T0" fmla="*/ 248 w 248"/>
                    <a:gd name="T1" fmla="*/ 44 h 110"/>
                    <a:gd name="T2" fmla="*/ 222 w 248"/>
                    <a:gd name="T3" fmla="*/ 0 h 110"/>
                    <a:gd name="T4" fmla="*/ 0 w 248"/>
                    <a:gd name="T5" fmla="*/ 59 h 110"/>
                    <a:gd name="T6" fmla="*/ 0 w 248"/>
                    <a:gd name="T7" fmla="*/ 110 h 110"/>
                    <a:gd name="T8" fmla="*/ 248 w 248"/>
                    <a:gd name="T9" fmla="*/ 4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8" h="110">
                      <a:moveTo>
                        <a:pt x="248" y="44"/>
                      </a:moveTo>
                      <a:cubicBezTo>
                        <a:pt x="222" y="0"/>
                        <a:pt x="222" y="0"/>
                        <a:pt x="222" y="0"/>
                      </a:cubicBezTo>
                      <a:cubicBezTo>
                        <a:pt x="156" y="36"/>
                        <a:pt x="80" y="57"/>
                        <a:pt x="0" y="59"/>
                      </a:cubicBezTo>
                      <a:cubicBezTo>
                        <a:pt x="0" y="110"/>
                        <a:pt x="0" y="110"/>
                        <a:pt x="0" y="110"/>
                      </a:cubicBezTo>
                      <a:cubicBezTo>
                        <a:pt x="90" y="108"/>
                        <a:pt x="174" y="84"/>
                        <a:pt x="248" y="44"/>
                      </a:cubicBezTo>
                      <a:close/>
                    </a:path>
                  </a:pathLst>
                </a:custGeom>
                <a:solidFill>
                  <a:srgbClr val="00B9CD"/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form 12">
                  <a:extLst>
                    <a:ext uri="{FF2B5EF4-FFF2-40B4-BE49-F238E27FC236}">
                      <a16:creationId xmlns:a16="http://schemas.microsoft.com/office/drawing/2014/main" id="{469875E7-4D71-4FFF-A277-F52850783C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7036" y="3936217"/>
                  <a:ext cx="425262" cy="189006"/>
                </a:xfrm>
                <a:custGeom>
                  <a:avLst/>
                  <a:gdLst>
                    <a:gd name="T0" fmla="*/ 0 w 247"/>
                    <a:gd name="T1" fmla="*/ 44 h 110"/>
                    <a:gd name="T2" fmla="*/ 247 w 247"/>
                    <a:gd name="T3" fmla="*/ 110 h 110"/>
                    <a:gd name="T4" fmla="*/ 247 w 247"/>
                    <a:gd name="T5" fmla="*/ 59 h 110"/>
                    <a:gd name="T6" fmla="*/ 26 w 247"/>
                    <a:gd name="T7" fmla="*/ 0 h 110"/>
                    <a:gd name="T8" fmla="*/ 0 w 247"/>
                    <a:gd name="T9" fmla="*/ 4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7" h="110">
                      <a:moveTo>
                        <a:pt x="0" y="44"/>
                      </a:moveTo>
                      <a:cubicBezTo>
                        <a:pt x="74" y="84"/>
                        <a:pt x="158" y="108"/>
                        <a:pt x="247" y="110"/>
                      </a:cubicBezTo>
                      <a:cubicBezTo>
                        <a:pt x="247" y="59"/>
                        <a:pt x="247" y="59"/>
                        <a:pt x="247" y="59"/>
                      </a:cubicBezTo>
                      <a:cubicBezTo>
                        <a:pt x="167" y="57"/>
                        <a:pt x="92" y="36"/>
                        <a:pt x="26" y="0"/>
                      </a:cubicBezTo>
                      <a:lnTo>
                        <a:pt x="0" y="44"/>
                      </a:ln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Freeform 13">
                  <a:extLst>
                    <a:ext uri="{FF2B5EF4-FFF2-40B4-BE49-F238E27FC236}">
                      <a16:creationId xmlns:a16="http://schemas.microsoft.com/office/drawing/2014/main" id="{00340241-BF34-4CA8-A5EF-4511058B8C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7595" y="3632930"/>
                  <a:ext cx="354935" cy="356034"/>
                </a:xfrm>
                <a:custGeom>
                  <a:avLst/>
                  <a:gdLst>
                    <a:gd name="T0" fmla="*/ 44 w 206"/>
                    <a:gd name="T1" fmla="*/ 0 h 207"/>
                    <a:gd name="T2" fmla="*/ 0 w 206"/>
                    <a:gd name="T3" fmla="*/ 26 h 207"/>
                    <a:gd name="T4" fmla="*/ 181 w 206"/>
                    <a:gd name="T5" fmla="*/ 207 h 207"/>
                    <a:gd name="T6" fmla="*/ 206 w 206"/>
                    <a:gd name="T7" fmla="*/ 163 h 207"/>
                    <a:gd name="T8" fmla="*/ 44 w 206"/>
                    <a:gd name="T9" fmla="*/ 0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6" h="207">
                      <a:moveTo>
                        <a:pt x="44" y="0"/>
                      </a:move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45" y="100"/>
                        <a:pt x="107" y="162"/>
                        <a:pt x="181" y="207"/>
                      </a:cubicBezTo>
                      <a:cubicBezTo>
                        <a:pt x="206" y="163"/>
                        <a:pt x="206" y="163"/>
                        <a:pt x="206" y="163"/>
                      </a:cubicBezTo>
                      <a:cubicBezTo>
                        <a:pt x="140" y="122"/>
                        <a:pt x="85" y="66"/>
                        <a:pt x="44" y="0"/>
                      </a:cubicBez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Freeform 14">
                  <a:extLst>
                    <a:ext uri="{FF2B5EF4-FFF2-40B4-BE49-F238E27FC236}">
                      <a16:creationId xmlns:a16="http://schemas.microsoft.com/office/drawing/2014/main" id="{848BEB26-7C1F-4CFD-A58B-4832350E4D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0237" y="3213162"/>
                  <a:ext cx="191203" cy="427460"/>
                </a:xfrm>
                <a:custGeom>
                  <a:avLst/>
                  <a:gdLst>
                    <a:gd name="T0" fmla="*/ 0 w 111"/>
                    <a:gd name="T1" fmla="*/ 0 h 248"/>
                    <a:gd name="T2" fmla="*/ 67 w 111"/>
                    <a:gd name="T3" fmla="*/ 248 h 248"/>
                    <a:gd name="T4" fmla="*/ 111 w 111"/>
                    <a:gd name="T5" fmla="*/ 222 h 248"/>
                    <a:gd name="T6" fmla="*/ 51 w 111"/>
                    <a:gd name="T7" fmla="*/ 0 h 248"/>
                    <a:gd name="T8" fmla="*/ 0 w 111"/>
                    <a:gd name="T9" fmla="*/ 0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1" h="248">
                      <a:moveTo>
                        <a:pt x="0" y="0"/>
                      </a:moveTo>
                      <a:cubicBezTo>
                        <a:pt x="2" y="90"/>
                        <a:pt x="26" y="174"/>
                        <a:pt x="67" y="248"/>
                      </a:cubicBezTo>
                      <a:cubicBezTo>
                        <a:pt x="111" y="222"/>
                        <a:pt x="111" y="222"/>
                        <a:pt x="111" y="222"/>
                      </a:cubicBezTo>
                      <a:cubicBezTo>
                        <a:pt x="75" y="156"/>
                        <a:pt x="53" y="80"/>
                        <a:pt x="51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Freeform 15">
                  <a:extLst>
                    <a:ext uri="{FF2B5EF4-FFF2-40B4-BE49-F238E27FC236}">
                      <a16:creationId xmlns:a16="http://schemas.microsoft.com/office/drawing/2014/main" id="{F26238DA-645C-40A0-A065-D7419C4029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0237" y="2743946"/>
                  <a:ext cx="191203" cy="425262"/>
                </a:xfrm>
                <a:custGeom>
                  <a:avLst/>
                  <a:gdLst>
                    <a:gd name="T0" fmla="*/ 51 w 111"/>
                    <a:gd name="T1" fmla="*/ 247 h 247"/>
                    <a:gd name="T2" fmla="*/ 111 w 111"/>
                    <a:gd name="T3" fmla="*/ 26 h 247"/>
                    <a:gd name="T4" fmla="*/ 67 w 111"/>
                    <a:gd name="T5" fmla="*/ 0 h 247"/>
                    <a:gd name="T6" fmla="*/ 0 w 111"/>
                    <a:gd name="T7" fmla="*/ 247 h 247"/>
                    <a:gd name="T8" fmla="*/ 51 w 111"/>
                    <a:gd name="T9" fmla="*/ 247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1" h="247">
                      <a:moveTo>
                        <a:pt x="51" y="247"/>
                      </a:moveTo>
                      <a:cubicBezTo>
                        <a:pt x="53" y="167"/>
                        <a:pt x="75" y="92"/>
                        <a:pt x="111" y="26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26" y="74"/>
                        <a:pt x="2" y="158"/>
                        <a:pt x="0" y="247"/>
                      </a:cubicBezTo>
                      <a:lnTo>
                        <a:pt x="51" y="247"/>
                      </a:ln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97FE3A7B-BEDA-4C04-A44F-152648C876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7595" y="2394505"/>
                  <a:ext cx="354935" cy="354935"/>
                </a:xfrm>
                <a:custGeom>
                  <a:avLst/>
                  <a:gdLst>
                    <a:gd name="T0" fmla="*/ 0 w 206"/>
                    <a:gd name="T1" fmla="*/ 181 h 206"/>
                    <a:gd name="T2" fmla="*/ 44 w 206"/>
                    <a:gd name="T3" fmla="*/ 206 h 206"/>
                    <a:gd name="T4" fmla="*/ 206 w 206"/>
                    <a:gd name="T5" fmla="*/ 44 h 206"/>
                    <a:gd name="T6" fmla="*/ 181 w 206"/>
                    <a:gd name="T7" fmla="*/ 0 h 206"/>
                    <a:gd name="T8" fmla="*/ 0 w 206"/>
                    <a:gd name="T9" fmla="*/ 181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6" h="206">
                      <a:moveTo>
                        <a:pt x="0" y="181"/>
                      </a:moveTo>
                      <a:cubicBezTo>
                        <a:pt x="44" y="206"/>
                        <a:pt x="44" y="206"/>
                        <a:pt x="44" y="206"/>
                      </a:cubicBezTo>
                      <a:cubicBezTo>
                        <a:pt x="85" y="140"/>
                        <a:pt x="140" y="85"/>
                        <a:pt x="206" y="44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107" y="45"/>
                        <a:pt x="45" y="107"/>
                        <a:pt x="0" y="181"/>
                      </a:cubicBez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Freeform 17">
                  <a:extLst>
                    <a:ext uri="{FF2B5EF4-FFF2-40B4-BE49-F238E27FC236}">
                      <a16:creationId xmlns:a16="http://schemas.microsoft.com/office/drawing/2014/main" id="{D91045B2-7907-4252-81BD-5179FE7E48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7036" y="2257147"/>
                  <a:ext cx="425262" cy="191203"/>
                </a:xfrm>
                <a:custGeom>
                  <a:avLst/>
                  <a:gdLst>
                    <a:gd name="T0" fmla="*/ 0 w 247"/>
                    <a:gd name="T1" fmla="*/ 67 h 111"/>
                    <a:gd name="T2" fmla="*/ 25 w 247"/>
                    <a:gd name="T3" fmla="*/ 111 h 111"/>
                    <a:gd name="T4" fmla="*/ 247 w 247"/>
                    <a:gd name="T5" fmla="*/ 51 h 111"/>
                    <a:gd name="T6" fmla="*/ 247 w 247"/>
                    <a:gd name="T7" fmla="*/ 0 h 111"/>
                    <a:gd name="T8" fmla="*/ 0 w 247"/>
                    <a:gd name="T9" fmla="*/ 67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7" h="111">
                      <a:moveTo>
                        <a:pt x="0" y="67"/>
                      </a:moveTo>
                      <a:cubicBezTo>
                        <a:pt x="25" y="111"/>
                        <a:pt x="25" y="111"/>
                        <a:pt x="25" y="111"/>
                      </a:cubicBezTo>
                      <a:cubicBezTo>
                        <a:pt x="92" y="75"/>
                        <a:pt x="167" y="53"/>
                        <a:pt x="247" y="51"/>
                      </a:cubicBezTo>
                      <a:cubicBezTo>
                        <a:pt x="247" y="0"/>
                        <a:pt x="247" y="0"/>
                        <a:pt x="247" y="0"/>
                      </a:cubicBezTo>
                      <a:cubicBezTo>
                        <a:pt x="158" y="2"/>
                        <a:pt x="74" y="26"/>
                        <a:pt x="0" y="67"/>
                      </a:cubicBezTo>
                      <a:close/>
                    </a:path>
                  </a:pathLst>
                </a:custGeom>
                <a:solidFill>
                  <a:srgbClr val="00B9CD">
                    <a:alpha val="25000"/>
                  </a:srgbClr>
                </a:solidFill>
                <a:ln>
                  <a:noFill/>
                </a:ln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pic>
          <p:nvPicPr>
            <p:cNvPr id="22" name="Graphic 21" descr="Lungs">
              <a:extLst>
                <a:ext uri="{FF2B5EF4-FFF2-40B4-BE49-F238E27FC236}">
                  <a16:creationId xmlns:a16="http://schemas.microsoft.com/office/drawing/2014/main" id="{8DBBC42B-B537-4027-816D-002201C5C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070055" y="2517622"/>
              <a:ext cx="914400" cy="914400"/>
            </a:xfrm>
            <a:prstGeom prst="rect">
              <a:avLst/>
            </a:prstGeom>
          </p:spPr>
        </p:pic>
      </p:grpSp>
      <p:pic>
        <p:nvPicPr>
          <p:cNvPr id="37" name="Graphic 36" descr="Heart organ">
            <a:extLst>
              <a:ext uri="{FF2B5EF4-FFF2-40B4-BE49-F238E27FC236}">
                <a16:creationId xmlns:a16="http://schemas.microsoft.com/office/drawing/2014/main" id="{D331612E-D7FB-432A-90B8-E810423B82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52599" y="3022056"/>
            <a:ext cx="914400" cy="914400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279155B3-CF51-44C4-B223-603CD73957A8}"/>
              </a:ext>
            </a:extLst>
          </p:cNvPr>
          <p:cNvGrpSpPr/>
          <p:nvPr/>
        </p:nvGrpSpPr>
        <p:grpSpPr>
          <a:xfrm>
            <a:off x="8767698" y="2504010"/>
            <a:ext cx="1867590" cy="1868076"/>
            <a:chOff x="1690682" y="1745673"/>
            <a:chExt cx="1867590" cy="1868076"/>
          </a:xfrm>
          <a:solidFill>
            <a:schemeClr val="accent6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64C25EF2-DBB9-4852-B279-8241722566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259" y="1919296"/>
              <a:ext cx="1521537" cy="1521933"/>
            </a:xfrm>
            <a:prstGeom prst="ellipse">
              <a:avLst/>
            </a:prstGeom>
            <a:solidFill>
              <a:srgbClr val="CC0033"/>
            </a:solidFill>
            <a:ln>
              <a:noFill/>
            </a:ln>
          </p:spPr>
          <p:txBody>
            <a:bodyPr vert="horz" wrap="square" lIns="91422" tIns="45711" rIns="91422" bIns="4571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B6CE95C-FD4A-4EBF-BD21-8B6DFBD8ECEF}"/>
                </a:ext>
              </a:extLst>
            </p:cNvPr>
            <p:cNvGrpSpPr/>
            <p:nvPr/>
          </p:nvGrpSpPr>
          <p:grpSpPr>
            <a:xfrm>
              <a:off x="1690682" y="1745673"/>
              <a:ext cx="1867590" cy="1868076"/>
              <a:chOff x="3800237" y="2257147"/>
              <a:chExt cx="1868076" cy="1868076"/>
            </a:xfrm>
            <a:grpFill/>
          </p:grpSpPr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E4293C61-EC76-423E-9771-76477FBA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020" y="2394505"/>
                <a:ext cx="356034" cy="354935"/>
              </a:xfrm>
              <a:custGeom>
                <a:avLst/>
                <a:gdLst>
                  <a:gd name="T0" fmla="*/ 207 w 207"/>
                  <a:gd name="T1" fmla="*/ 181 h 206"/>
                  <a:gd name="T2" fmla="*/ 26 w 207"/>
                  <a:gd name="T3" fmla="*/ 0 h 206"/>
                  <a:gd name="T4" fmla="*/ 0 w 207"/>
                  <a:gd name="T5" fmla="*/ 44 h 206"/>
                  <a:gd name="T6" fmla="*/ 163 w 207"/>
                  <a:gd name="T7" fmla="*/ 206 h 206"/>
                  <a:gd name="T8" fmla="*/ 207 w 207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6">
                    <a:moveTo>
                      <a:pt x="207" y="181"/>
                    </a:moveTo>
                    <a:cubicBezTo>
                      <a:pt x="162" y="107"/>
                      <a:pt x="100" y="45"/>
                      <a:pt x="26" y="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66" y="85"/>
                      <a:pt x="122" y="140"/>
                      <a:pt x="163" y="206"/>
                    </a:cubicBezTo>
                    <a:lnTo>
                      <a:pt x="207" y="181"/>
                    </a:ln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7">
                <a:extLst>
                  <a:ext uri="{FF2B5EF4-FFF2-40B4-BE49-F238E27FC236}">
                    <a16:creationId xmlns:a16="http://schemas.microsoft.com/office/drawing/2014/main" id="{40F13B9D-3B37-4F3E-A052-875F45A7F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252" y="2257147"/>
                <a:ext cx="427460" cy="191203"/>
              </a:xfrm>
              <a:custGeom>
                <a:avLst/>
                <a:gdLst>
                  <a:gd name="T0" fmla="*/ 0 w 248"/>
                  <a:gd name="T1" fmla="*/ 0 h 111"/>
                  <a:gd name="T2" fmla="*/ 0 w 248"/>
                  <a:gd name="T3" fmla="*/ 51 h 111"/>
                  <a:gd name="T4" fmla="*/ 222 w 248"/>
                  <a:gd name="T5" fmla="*/ 111 h 111"/>
                  <a:gd name="T6" fmla="*/ 248 w 248"/>
                  <a:gd name="T7" fmla="*/ 67 h 111"/>
                  <a:gd name="T8" fmla="*/ 0 w 248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80" y="53"/>
                      <a:pt x="156" y="75"/>
                      <a:pt x="222" y="111"/>
                    </a:cubicBezTo>
                    <a:cubicBezTo>
                      <a:pt x="248" y="67"/>
                      <a:pt x="248" y="67"/>
                      <a:pt x="248" y="67"/>
                    </a:cubicBezTo>
                    <a:cubicBezTo>
                      <a:pt x="174" y="26"/>
                      <a:pt x="90" y="2"/>
                      <a:pt x="0" y="0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496AD261-C028-4D9A-A209-806CC4DF1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110" y="2743946"/>
                <a:ext cx="191203" cy="425262"/>
              </a:xfrm>
              <a:custGeom>
                <a:avLst/>
                <a:gdLst>
                  <a:gd name="T0" fmla="*/ 45 w 111"/>
                  <a:gd name="T1" fmla="*/ 0 h 247"/>
                  <a:gd name="T2" fmla="*/ 0 w 111"/>
                  <a:gd name="T3" fmla="*/ 26 h 247"/>
                  <a:gd name="T4" fmla="*/ 60 w 111"/>
                  <a:gd name="T5" fmla="*/ 247 h 247"/>
                  <a:gd name="T6" fmla="*/ 111 w 111"/>
                  <a:gd name="T7" fmla="*/ 247 h 247"/>
                  <a:gd name="T8" fmla="*/ 45 w 111"/>
                  <a:gd name="T9" fmla="*/ 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45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37" y="92"/>
                      <a:pt x="58" y="167"/>
                      <a:pt x="60" y="247"/>
                    </a:cubicBezTo>
                    <a:cubicBezTo>
                      <a:pt x="111" y="247"/>
                      <a:pt x="111" y="247"/>
                      <a:pt x="111" y="247"/>
                    </a:cubicBezTo>
                    <a:cubicBezTo>
                      <a:pt x="109" y="158"/>
                      <a:pt x="85" y="74"/>
                      <a:pt x="45" y="0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9">
                <a:extLst>
                  <a:ext uri="{FF2B5EF4-FFF2-40B4-BE49-F238E27FC236}">
                    <a16:creationId xmlns:a16="http://schemas.microsoft.com/office/drawing/2014/main" id="{93E7593D-EA32-41D8-97B0-4AD295BB6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7110" y="3213162"/>
                <a:ext cx="191203" cy="427460"/>
              </a:xfrm>
              <a:custGeom>
                <a:avLst/>
                <a:gdLst>
                  <a:gd name="T0" fmla="*/ 60 w 111"/>
                  <a:gd name="T1" fmla="*/ 0 h 248"/>
                  <a:gd name="T2" fmla="*/ 0 w 111"/>
                  <a:gd name="T3" fmla="*/ 222 h 248"/>
                  <a:gd name="T4" fmla="*/ 45 w 111"/>
                  <a:gd name="T5" fmla="*/ 248 h 248"/>
                  <a:gd name="T6" fmla="*/ 111 w 111"/>
                  <a:gd name="T7" fmla="*/ 0 h 248"/>
                  <a:gd name="T8" fmla="*/ 6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60" y="0"/>
                    </a:moveTo>
                    <a:cubicBezTo>
                      <a:pt x="58" y="80"/>
                      <a:pt x="37" y="156"/>
                      <a:pt x="0" y="222"/>
                    </a:cubicBezTo>
                    <a:cubicBezTo>
                      <a:pt x="45" y="248"/>
                      <a:pt x="45" y="248"/>
                      <a:pt x="45" y="248"/>
                    </a:cubicBezTo>
                    <a:cubicBezTo>
                      <a:pt x="85" y="174"/>
                      <a:pt x="109" y="90"/>
                      <a:pt x="111" y="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10">
                <a:extLst>
                  <a:ext uri="{FF2B5EF4-FFF2-40B4-BE49-F238E27FC236}">
                    <a16:creationId xmlns:a16="http://schemas.microsoft.com/office/drawing/2014/main" id="{C0F9AB4A-9374-454A-97E6-2889867DE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020" y="3632930"/>
                <a:ext cx="356034" cy="356034"/>
              </a:xfrm>
              <a:custGeom>
                <a:avLst/>
                <a:gdLst>
                  <a:gd name="T0" fmla="*/ 207 w 207"/>
                  <a:gd name="T1" fmla="*/ 26 h 207"/>
                  <a:gd name="T2" fmla="*/ 163 w 207"/>
                  <a:gd name="T3" fmla="*/ 0 h 207"/>
                  <a:gd name="T4" fmla="*/ 0 w 207"/>
                  <a:gd name="T5" fmla="*/ 163 h 207"/>
                  <a:gd name="T6" fmla="*/ 26 w 207"/>
                  <a:gd name="T7" fmla="*/ 207 h 207"/>
                  <a:gd name="T8" fmla="*/ 207 w 207"/>
                  <a:gd name="T9" fmla="*/ 2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7">
                    <a:moveTo>
                      <a:pt x="207" y="26"/>
                    </a:moveTo>
                    <a:cubicBezTo>
                      <a:pt x="163" y="0"/>
                      <a:pt x="163" y="0"/>
                      <a:pt x="163" y="0"/>
                    </a:cubicBezTo>
                    <a:cubicBezTo>
                      <a:pt x="122" y="66"/>
                      <a:pt x="66" y="122"/>
                      <a:pt x="0" y="163"/>
                    </a:cubicBezTo>
                    <a:cubicBezTo>
                      <a:pt x="26" y="207"/>
                      <a:pt x="26" y="207"/>
                      <a:pt x="26" y="207"/>
                    </a:cubicBezTo>
                    <a:cubicBezTo>
                      <a:pt x="100" y="162"/>
                      <a:pt x="162" y="100"/>
                      <a:pt x="207" y="26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1">
                <a:extLst>
                  <a:ext uri="{FF2B5EF4-FFF2-40B4-BE49-F238E27FC236}">
                    <a16:creationId xmlns:a16="http://schemas.microsoft.com/office/drawing/2014/main" id="{F7532946-4C75-41FF-B9D8-E1B2B2550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252" y="3936217"/>
                <a:ext cx="427460" cy="189006"/>
              </a:xfrm>
              <a:custGeom>
                <a:avLst/>
                <a:gdLst>
                  <a:gd name="T0" fmla="*/ 248 w 248"/>
                  <a:gd name="T1" fmla="*/ 44 h 110"/>
                  <a:gd name="T2" fmla="*/ 222 w 248"/>
                  <a:gd name="T3" fmla="*/ 0 h 110"/>
                  <a:gd name="T4" fmla="*/ 0 w 248"/>
                  <a:gd name="T5" fmla="*/ 59 h 110"/>
                  <a:gd name="T6" fmla="*/ 0 w 248"/>
                  <a:gd name="T7" fmla="*/ 110 h 110"/>
                  <a:gd name="T8" fmla="*/ 248 w 248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" h="110">
                    <a:moveTo>
                      <a:pt x="248" y="44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156" y="36"/>
                      <a:pt x="80" y="57"/>
                      <a:pt x="0" y="59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90" y="108"/>
                      <a:pt x="174" y="84"/>
                      <a:pt x="248" y="44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AE44222F-8BF2-487C-A895-2374473BD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7036" y="3936217"/>
                <a:ext cx="425262" cy="189006"/>
              </a:xfrm>
              <a:custGeom>
                <a:avLst/>
                <a:gdLst>
                  <a:gd name="T0" fmla="*/ 0 w 247"/>
                  <a:gd name="T1" fmla="*/ 44 h 110"/>
                  <a:gd name="T2" fmla="*/ 247 w 247"/>
                  <a:gd name="T3" fmla="*/ 110 h 110"/>
                  <a:gd name="T4" fmla="*/ 247 w 247"/>
                  <a:gd name="T5" fmla="*/ 59 h 110"/>
                  <a:gd name="T6" fmla="*/ 26 w 247"/>
                  <a:gd name="T7" fmla="*/ 0 h 110"/>
                  <a:gd name="T8" fmla="*/ 0 w 247"/>
                  <a:gd name="T9" fmla="*/ 4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0">
                    <a:moveTo>
                      <a:pt x="0" y="44"/>
                    </a:moveTo>
                    <a:cubicBezTo>
                      <a:pt x="74" y="84"/>
                      <a:pt x="158" y="108"/>
                      <a:pt x="247" y="110"/>
                    </a:cubicBezTo>
                    <a:cubicBezTo>
                      <a:pt x="247" y="59"/>
                      <a:pt x="247" y="59"/>
                      <a:pt x="247" y="59"/>
                    </a:cubicBezTo>
                    <a:cubicBezTo>
                      <a:pt x="167" y="57"/>
                      <a:pt x="92" y="36"/>
                      <a:pt x="26" y="0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13">
                <a:extLst>
                  <a:ext uri="{FF2B5EF4-FFF2-40B4-BE49-F238E27FC236}">
                    <a16:creationId xmlns:a16="http://schemas.microsoft.com/office/drawing/2014/main" id="{E96D4473-F431-42B1-98A8-5B4A7A6EE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595" y="3632930"/>
                <a:ext cx="354935" cy="356034"/>
              </a:xfrm>
              <a:custGeom>
                <a:avLst/>
                <a:gdLst>
                  <a:gd name="T0" fmla="*/ 44 w 206"/>
                  <a:gd name="T1" fmla="*/ 0 h 207"/>
                  <a:gd name="T2" fmla="*/ 0 w 206"/>
                  <a:gd name="T3" fmla="*/ 26 h 207"/>
                  <a:gd name="T4" fmla="*/ 181 w 206"/>
                  <a:gd name="T5" fmla="*/ 207 h 207"/>
                  <a:gd name="T6" fmla="*/ 206 w 206"/>
                  <a:gd name="T7" fmla="*/ 163 h 207"/>
                  <a:gd name="T8" fmla="*/ 44 w 206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7">
                    <a:moveTo>
                      <a:pt x="44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45" y="100"/>
                      <a:pt x="107" y="162"/>
                      <a:pt x="181" y="207"/>
                    </a:cubicBezTo>
                    <a:cubicBezTo>
                      <a:pt x="206" y="163"/>
                      <a:pt x="206" y="163"/>
                      <a:pt x="206" y="163"/>
                    </a:cubicBezTo>
                    <a:cubicBezTo>
                      <a:pt x="140" y="122"/>
                      <a:pt x="85" y="66"/>
                      <a:pt x="44" y="0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4">
                <a:extLst>
                  <a:ext uri="{FF2B5EF4-FFF2-40B4-BE49-F238E27FC236}">
                    <a16:creationId xmlns:a16="http://schemas.microsoft.com/office/drawing/2014/main" id="{A9D6ED35-AE7A-4696-B240-15A4E5B0D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237" y="3213162"/>
                <a:ext cx="191203" cy="427460"/>
              </a:xfrm>
              <a:custGeom>
                <a:avLst/>
                <a:gdLst>
                  <a:gd name="T0" fmla="*/ 0 w 111"/>
                  <a:gd name="T1" fmla="*/ 0 h 248"/>
                  <a:gd name="T2" fmla="*/ 67 w 111"/>
                  <a:gd name="T3" fmla="*/ 248 h 248"/>
                  <a:gd name="T4" fmla="*/ 111 w 111"/>
                  <a:gd name="T5" fmla="*/ 222 h 248"/>
                  <a:gd name="T6" fmla="*/ 51 w 111"/>
                  <a:gd name="T7" fmla="*/ 0 h 248"/>
                  <a:gd name="T8" fmla="*/ 0 w 111"/>
                  <a:gd name="T9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8">
                    <a:moveTo>
                      <a:pt x="0" y="0"/>
                    </a:moveTo>
                    <a:cubicBezTo>
                      <a:pt x="2" y="90"/>
                      <a:pt x="26" y="174"/>
                      <a:pt x="67" y="248"/>
                    </a:cubicBezTo>
                    <a:cubicBezTo>
                      <a:pt x="111" y="222"/>
                      <a:pt x="111" y="222"/>
                      <a:pt x="111" y="222"/>
                    </a:cubicBezTo>
                    <a:cubicBezTo>
                      <a:pt x="75" y="156"/>
                      <a:pt x="53" y="80"/>
                      <a:pt x="5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5">
                <a:extLst>
                  <a:ext uri="{FF2B5EF4-FFF2-40B4-BE49-F238E27FC236}">
                    <a16:creationId xmlns:a16="http://schemas.microsoft.com/office/drawing/2014/main" id="{5E60801C-4CA1-47A8-A504-C76EA163C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237" y="2743946"/>
                <a:ext cx="191203" cy="425262"/>
              </a:xfrm>
              <a:custGeom>
                <a:avLst/>
                <a:gdLst>
                  <a:gd name="T0" fmla="*/ 51 w 111"/>
                  <a:gd name="T1" fmla="*/ 247 h 247"/>
                  <a:gd name="T2" fmla="*/ 111 w 111"/>
                  <a:gd name="T3" fmla="*/ 26 h 247"/>
                  <a:gd name="T4" fmla="*/ 67 w 111"/>
                  <a:gd name="T5" fmla="*/ 0 h 247"/>
                  <a:gd name="T6" fmla="*/ 0 w 111"/>
                  <a:gd name="T7" fmla="*/ 247 h 247"/>
                  <a:gd name="T8" fmla="*/ 51 w 111"/>
                  <a:gd name="T9" fmla="*/ 24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7">
                    <a:moveTo>
                      <a:pt x="51" y="247"/>
                    </a:moveTo>
                    <a:cubicBezTo>
                      <a:pt x="53" y="167"/>
                      <a:pt x="75" y="92"/>
                      <a:pt x="111" y="26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26" y="74"/>
                      <a:pt x="2" y="158"/>
                      <a:pt x="0" y="247"/>
                    </a:cubicBezTo>
                    <a:lnTo>
                      <a:pt x="51" y="247"/>
                    </a:ln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6">
                <a:extLst>
                  <a:ext uri="{FF2B5EF4-FFF2-40B4-BE49-F238E27FC236}">
                    <a16:creationId xmlns:a16="http://schemas.microsoft.com/office/drawing/2014/main" id="{36D2480A-2E73-437B-9316-042A967FE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595" y="2394505"/>
                <a:ext cx="354935" cy="354935"/>
              </a:xfrm>
              <a:custGeom>
                <a:avLst/>
                <a:gdLst>
                  <a:gd name="T0" fmla="*/ 0 w 206"/>
                  <a:gd name="T1" fmla="*/ 181 h 206"/>
                  <a:gd name="T2" fmla="*/ 44 w 206"/>
                  <a:gd name="T3" fmla="*/ 206 h 206"/>
                  <a:gd name="T4" fmla="*/ 206 w 206"/>
                  <a:gd name="T5" fmla="*/ 44 h 206"/>
                  <a:gd name="T6" fmla="*/ 181 w 206"/>
                  <a:gd name="T7" fmla="*/ 0 h 206"/>
                  <a:gd name="T8" fmla="*/ 0 w 206"/>
                  <a:gd name="T9" fmla="*/ 18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206">
                    <a:moveTo>
                      <a:pt x="0" y="181"/>
                    </a:moveTo>
                    <a:cubicBezTo>
                      <a:pt x="44" y="206"/>
                      <a:pt x="44" y="206"/>
                      <a:pt x="44" y="206"/>
                    </a:cubicBezTo>
                    <a:cubicBezTo>
                      <a:pt x="85" y="140"/>
                      <a:pt x="140" y="85"/>
                      <a:pt x="206" y="44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07" y="45"/>
                      <a:pt x="45" y="107"/>
                      <a:pt x="0" y="181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7">
                <a:extLst>
                  <a:ext uri="{FF2B5EF4-FFF2-40B4-BE49-F238E27FC236}">
                    <a16:creationId xmlns:a16="http://schemas.microsoft.com/office/drawing/2014/main" id="{FE8FD0C6-D3C1-44C7-AE00-A4A0EA7DD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7036" y="2257147"/>
                <a:ext cx="425262" cy="191203"/>
              </a:xfrm>
              <a:custGeom>
                <a:avLst/>
                <a:gdLst>
                  <a:gd name="T0" fmla="*/ 0 w 247"/>
                  <a:gd name="T1" fmla="*/ 67 h 111"/>
                  <a:gd name="T2" fmla="*/ 25 w 247"/>
                  <a:gd name="T3" fmla="*/ 111 h 111"/>
                  <a:gd name="T4" fmla="*/ 247 w 247"/>
                  <a:gd name="T5" fmla="*/ 51 h 111"/>
                  <a:gd name="T6" fmla="*/ 247 w 247"/>
                  <a:gd name="T7" fmla="*/ 0 h 111"/>
                  <a:gd name="T8" fmla="*/ 0 w 247"/>
                  <a:gd name="T9" fmla="*/ 6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111">
                    <a:moveTo>
                      <a:pt x="0" y="67"/>
                    </a:moveTo>
                    <a:cubicBezTo>
                      <a:pt x="25" y="111"/>
                      <a:pt x="25" y="111"/>
                      <a:pt x="25" y="111"/>
                    </a:cubicBezTo>
                    <a:cubicBezTo>
                      <a:pt x="92" y="75"/>
                      <a:pt x="167" y="53"/>
                      <a:pt x="247" y="5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158" y="2"/>
                      <a:pt x="74" y="26"/>
                      <a:pt x="0" y="67"/>
                    </a:cubicBezTo>
                    <a:close/>
                  </a:path>
                </a:pathLst>
              </a:custGeom>
              <a:solidFill>
                <a:srgbClr val="CC003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53" name="Graphic 52" descr="Water">
            <a:extLst>
              <a:ext uri="{FF2B5EF4-FFF2-40B4-BE49-F238E27FC236}">
                <a16:creationId xmlns:a16="http://schemas.microsoft.com/office/drawing/2014/main" id="{BE14D866-DB96-4111-A658-1F29DCA4294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32880" y="2970413"/>
            <a:ext cx="914400" cy="914400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BB005C32-294F-47F0-9D2B-9CCFBB814DFB}"/>
              </a:ext>
            </a:extLst>
          </p:cNvPr>
          <p:cNvSpPr txBox="1"/>
          <p:nvPr/>
        </p:nvSpPr>
        <p:spPr>
          <a:xfrm>
            <a:off x="1183386" y="4581347"/>
            <a:ext cx="259263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астые симптомы</a:t>
            </a:r>
            <a:endParaRPr kumimoji="0" lang="ru-RU" sz="1800" b="1" i="0" u="none" strike="noStrike" kern="1200" cap="none" spc="0" normalizeH="0" baseline="3000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дышк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томляемость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 в грудной клетке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41BE55B-FF2C-402D-94F7-9C4A9D640981}"/>
              </a:ext>
            </a:extLst>
          </p:cNvPr>
          <p:cNvSpPr txBox="1"/>
          <p:nvPr/>
        </p:nvSpPr>
        <p:spPr>
          <a:xfrm>
            <a:off x="4661358" y="4581347"/>
            <a:ext cx="2567754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частые симптомы</a:t>
            </a:r>
            <a:endParaRPr kumimoji="0" lang="ru-RU" sz="1800" b="1" i="0" u="none" strike="noStrike" kern="1200" cap="none" spc="0" normalizeH="0" baseline="3000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морок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ловокруже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дцебиение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07B077F-49AC-4890-836D-F8C638BB7704}"/>
              </a:ext>
            </a:extLst>
          </p:cNvPr>
          <p:cNvSpPr txBox="1"/>
          <p:nvPr/>
        </p:nvSpPr>
        <p:spPr>
          <a:xfrm>
            <a:off x="8278840" y="4581347"/>
            <a:ext cx="372447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мптомы, возникающие на поздних стадиях заболевания</a:t>
            </a:r>
            <a:endParaRPr kumimoji="0" lang="ru-RU" sz="1800" b="1" i="0" u="none" strike="noStrike" kern="1200" cap="none" spc="0" normalizeH="0" baseline="3000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ианоз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пертрофия ПЖ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вожелудочковая недостаточность</a:t>
            </a:r>
          </a:p>
        </p:txBody>
      </p:sp>
    </p:spTree>
    <p:extLst>
      <p:ext uri="{BB962C8B-B14F-4D97-AF65-F5344CB8AC3E}">
        <p14:creationId xmlns:p14="http://schemas.microsoft.com/office/powerpoint/2010/main" val="3705355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8A8A20E-B7F0-4334-B8A5-A87C0C87604F}"/>
              </a:ext>
            </a:extLst>
          </p:cNvPr>
          <p:cNvSpPr/>
          <p:nvPr/>
        </p:nvSpPr>
        <p:spPr>
          <a:xfrm>
            <a:off x="387715" y="822348"/>
            <a:ext cx="112789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хокардиография - основной метод при скрининге, постановке диагноза, оценки тяжести и динамическом наблюдении пациента с ЛАГ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704E4B4-2FF6-4BC5-9BDA-0DADBA30075E}"/>
              </a:ext>
            </a:extLst>
          </p:cNvPr>
          <p:cNvSpPr txBox="1">
            <a:spLocks/>
          </p:cNvSpPr>
          <p:nvPr/>
        </p:nvSpPr>
        <p:spPr>
          <a:xfrm>
            <a:off x="194544" y="6455208"/>
            <a:ext cx="114721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è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,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 37:67-119; 2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ine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X,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ho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c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; 5:G11-G24. Рисунок воспроизведен с разрешения д-ра Паскаля де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ута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scale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ote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B29B22F-8F99-4854-9076-8E87FD98B1FB}"/>
              </a:ext>
            </a:extLst>
          </p:cNvPr>
          <p:cNvSpPr/>
          <p:nvPr/>
        </p:nvSpPr>
        <p:spPr>
          <a:xfrm>
            <a:off x="609654" y="2034231"/>
            <a:ext cx="5805660" cy="408522"/>
          </a:xfrm>
          <a:prstGeom prst="roundRect">
            <a:avLst/>
          </a:prstGeom>
          <a:solidFill>
            <a:srgbClr val="CC0033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91350" tIns="45675" rIns="91350" bIns="4567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агностическое исследование первой линии</a:t>
            </a:r>
            <a:r>
              <a:rPr kumimoji="0" lang="ru-RU" sz="18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BDD24F-735B-4E63-8012-32D802A18B3B}"/>
              </a:ext>
            </a:extLst>
          </p:cNvPr>
          <p:cNvSpPr txBox="1"/>
          <p:nvPr/>
        </p:nvSpPr>
        <p:spPr>
          <a:xfrm>
            <a:off x="609654" y="2554114"/>
            <a:ext cx="506613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следование, наиболее часто применяемое для первичной диагностики ЛАГ до подтверждения диагноза методом КПОС и начала лечения</a:t>
            </a:r>
          </a:p>
          <a:p>
            <a:pPr marL="379413" marR="0" lvl="0" indent="-3794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гласно рекомендациям ЕОК/ЕОП от 2015 г., пациентам с высоким риском развития ЛАГ (включая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С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следует ежегодно проводить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кринингово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хокардиографическо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сследование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инвазивны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етод оценки ответа пациента на лече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9AD789-DED2-4378-90DD-374B3C40EA9A}"/>
              </a:ext>
            </a:extLst>
          </p:cNvPr>
          <p:cNvSpPr/>
          <p:nvPr/>
        </p:nvSpPr>
        <p:spPr>
          <a:xfrm>
            <a:off x="609654" y="4787984"/>
            <a:ext cx="5805660" cy="408522"/>
          </a:xfrm>
          <a:prstGeom prst="roundRect">
            <a:avLst/>
          </a:prstGeom>
          <a:solidFill>
            <a:srgbClr val="5160A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91350" tIns="45675" rIns="91350" bIns="45675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ключение внутрисердечных причин ЛГ</a:t>
            </a:r>
            <a:r>
              <a:rPr kumimoji="0" lang="ru-RU" sz="1800" b="1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139C15-2FE3-4FEE-B716-504B8D1DDD31}"/>
              </a:ext>
            </a:extLst>
          </p:cNvPr>
          <p:cNvSpPr txBox="1"/>
          <p:nvPr/>
        </p:nvSpPr>
        <p:spPr>
          <a:xfrm>
            <a:off x="609653" y="5273051"/>
            <a:ext cx="49756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ражение клапанов сердца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диомиопатии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рожденные аномали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8FDC92FB-8C81-4825-82CB-65561D4456DC}"/>
              </a:ext>
            </a:extLst>
          </p:cNvPr>
          <p:cNvGraphicFramePr>
            <a:graphicFrameLocks noGrp="1"/>
          </p:cNvGraphicFramePr>
          <p:nvPr/>
        </p:nvGraphicFramePr>
        <p:xfrm>
          <a:off x="6707643" y="1650832"/>
          <a:ext cx="5136015" cy="25966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0889">
                  <a:extLst>
                    <a:ext uri="{9D8B030D-6E8A-4147-A177-3AD203B41FA5}">
                      <a16:colId xmlns:a16="http://schemas.microsoft.com/office/drawing/2014/main" val="2688209534"/>
                    </a:ext>
                  </a:extLst>
                </a:gridCol>
                <a:gridCol w="1287746">
                  <a:extLst>
                    <a:ext uri="{9D8B030D-6E8A-4147-A177-3AD203B41FA5}">
                      <a16:colId xmlns:a16="http://schemas.microsoft.com/office/drawing/2014/main" val="2039269428"/>
                    </a:ext>
                  </a:extLst>
                </a:gridCol>
                <a:gridCol w="2377380">
                  <a:extLst>
                    <a:ext uri="{9D8B030D-6E8A-4147-A177-3AD203B41FA5}">
                      <a16:colId xmlns:a16="http://schemas.microsoft.com/office/drawing/2014/main" val="56087089"/>
                    </a:ext>
                  </a:extLst>
                </a:gridCol>
              </a:tblGrid>
              <a:tr h="683731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ая скорость потока </a:t>
                      </a:r>
                      <a:r>
                        <a:rPr lang="ru-RU" sz="1100" b="1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икуспидальной</a:t>
                      </a:r>
                      <a:r>
                        <a:rPr lang="ru-RU" sz="11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ргитации</a:t>
                      </a:r>
                      <a:r>
                        <a:rPr lang="ru-RU" sz="11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м/с)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>
                    <a:solidFill>
                      <a:srgbClr val="3BBF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 других эхокардиографических «признаков ЛГ»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>
                    <a:solidFill>
                      <a:srgbClr val="3BBF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роятность легочной гипертензии по данным эхокардиографии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>
                    <a:solidFill>
                      <a:srgbClr val="3BBF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190895"/>
                  </a:ext>
                </a:extLst>
              </a:tr>
              <a:tr h="470344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≤ 2,8 или не поддающаяся измерению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40AD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40AD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ая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40AD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5292498"/>
                  </a:ext>
                </a:extLst>
              </a:tr>
              <a:tr h="470344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≤ 2,8 или не поддающаяся измерению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F7EE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1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F7EE2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яя</a:t>
                      </a:r>
                      <a:endParaRPr lang="ru-RU" sz="1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5880" marR="85880" marT="42940" marB="42940" anchor="ctr">
                    <a:solidFill>
                      <a:srgbClr val="F7EE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495811"/>
                  </a:ext>
                </a:extLst>
              </a:tr>
              <a:tr h="256957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 – 3,4</a:t>
                      </a:r>
                      <a:endParaRPr lang="ru-RU" sz="1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F7EE2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1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F7EE2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7EE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299645"/>
                  </a:ext>
                </a:extLst>
              </a:tr>
              <a:tr h="256957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 – 3,4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D3232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D3232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5880" marR="85880" marT="42940" marB="42940" anchor="ctr">
                    <a:solidFill>
                      <a:srgbClr val="D323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1091569"/>
                  </a:ext>
                </a:extLst>
              </a:tr>
              <a:tr h="256957"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4</a:t>
                      </a:r>
                      <a:endParaRPr lang="ru-RU" sz="11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D3232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требуется</a:t>
                      </a:r>
                      <a:endParaRPr lang="ru-RU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9788" marR="49788" marT="24894" marB="24894" anchor="ctr">
                    <a:solidFill>
                      <a:srgbClr val="D3232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D323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05676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9982EA4-CEE9-44CB-8211-1ABE51048481}"/>
              </a:ext>
            </a:extLst>
          </p:cNvPr>
          <p:cNvSpPr txBox="1"/>
          <p:nvPr/>
        </p:nvSpPr>
        <p:spPr>
          <a:xfrm>
            <a:off x="6884643" y="6040121"/>
            <a:ext cx="4782013" cy="240927"/>
          </a:xfrm>
          <a:prstGeom prst="roundRect">
            <a:avLst>
              <a:gd name="adj" fmla="val 25107"/>
            </a:avLst>
          </a:prstGeom>
          <a:noFill/>
          <a:ln w="38100" cap="flat" cmpd="sng" algn="ctr">
            <a:solidFill>
              <a:srgbClr val="CC0033"/>
            </a:solidFill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lvl="0" algn="ctr">
              <a:defRPr sz="1600">
                <a:solidFill>
                  <a:srgbClr val="F2F2F2">
                    <a:lumMod val="10000"/>
                  </a:srgbClr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Пиковая скорость поток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трикуспидально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регургитации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(TRV)</a:t>
            </a:r>
            <a:endParaRPr kumimoji="0" lang="ru-RU" sz="1200" b="0" i="0" u="none" strike="noStrike" kern="1200" cap="none" spc="0" normalizeH="0" baseline="3000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4C95C-B1E2-46D6-A6AE-45EF400624C2}"/>
              </a:ext>
            </a:extLst>
          </p:cNvPr>
          <p:cNvSpPr txBox="1"/>
          <p:nvPr/>
        </p:nvSpPr>
        <p:spPr>
          <a:xfrm>
            <a:off x="11843658" y="165083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B32B68-8859-49D3-A408-A289E03E5B79}"/>
              </a:ext>
            </a:extLst>
          </p:cNvPr>
          <p:cNvSpPr txBox="1"/>
          <p:nvPr/>
        </p:nvSpPr>
        <p:spPr>
          <a:xfrm>
            <a:off x="11278304" y="4239137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528A7F-6544-F248-96E0-16146CFE86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9" b="10665"/>
          <a:stretch/>
        </p:blipFill>
        <p:spPr>
          <a:xfrm>
            <a:off x="7035966" y="4261524"/>
            <a:ext cx="4236390" cy="1749452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BDAE9D3-7090-DB4E-8CE0-660A0BEC12ED}"/>
              </a:ext>
            </a:extLst>
          </p:cNvPr>
          <p:cNvCxnSpPr/>
          <p:nvPr/>
        </p:nvCxnSpPr>
        <p:spPr>
          <a:xfrm>
            <a:off x="8783988" y="4637668"/>
            <a:ext cx="0" cy="1108688"/>
          </a:xfrm>
          <a:prstGeom prst="straightConnector1">
            <a:avLst/>
          </a:prstGeom>
          <a:ln w="28575"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1214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A7B1086-2558-425A-8E0C-8D1083CD8099}"/>
              </a:ext>
            </a:extLst>
          </p:cNvPr>
          <p:cNvSpPr/>
          <p:nvPr/>
        </p:nvSpPr>
        <p:spPr>
          <a:xfrm>
            <a:off x="259843" y="982387"/>
            <a:ext cx="114541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агноз ЛАГ подтверждают с помощью катетеризации правых отделов сердца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EE02BB4-E6CC-4F4B-9EA0-0D757546F8C2}"/>
              </a:ext>
            </a:extLst>
          </p:cNvPr>
          <p:cNvSpPr txBox="1">
            <a:spLocks/>
          </p:cNvSpPr>
          <p:nvPr/>
        </p:nvSpPr>
        <p:spPr>
          <a:xfrm>
            <a:off x="180234" y="6507278"/>
            <a:ext cx="11947121" cy="3818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è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,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 37:67-119; 2.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namenta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,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ss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kly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 147:w14445; Рисунок из работы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namenta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. и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авт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ss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kly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 147:w14445.; 3 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eper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t al. </a:t>
            </a: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 Am Coll </a:t>
            </a:r>
            <a:r>
              <a:rPr kumimoji="0" lang="en-GB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diol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2013;62:D42–50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23A7B55-5A24-4D48-8418-8FB05DE9724A}"/>
              </a:ext>
            </a:extLst>
          </p:cNvPr>
          <p:cNvSpPr/>
          <p:nvPr/>
        </p:nvSpPr>
        <p:spPr>
          <a:xfrm>
            <a:off x="587375" y="1773238"/>
            <a:ext cx="4975697" cy="408522"/>
          </a:xfrm>
          <a:prstGeom prst="roundRect">
            <a:avLst/>
          </a:prstGeom>
          <a:solidFill>
            <a:srgbClr val="CC0033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91350" tIns="45675" rIns="91350" bIns="4567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тверждение ЛГ</a:t>
            </a:r>
            <a:r>
              <a:rPr kumimoji="0" lang="ru-RU" sz="18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E2C1CBF-D164-4675-AECB-CA51B908B05A}"/>
              </a:ext>
            </a:extLst>
          </p:cNvPr>
          <p:cNvSpPr/>
          <p:nvPr/>
        </p:nvSpPr>
        <p:spPr>
          <a:xfrm>
            <a:off x="519726" y="3143028"/>
            <a:ext cx="4975697" cy="408522"/>
          </a:xfrm>
          <a:prstGeom prst="roundRect">
            <a:avLst/>
          </a:prstGeom>
          <a:solidFill>
            <a:srgbClr val="CC0033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91350" tIns="45675" rIns="91350" bIns="45675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тверждение ЛАГ</a:t>
            </a:r>
            <a:r>
              <a:rPr kumimoji="0" lang="ru-RU" sz="1800" b="1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8FB3FF-B88E-4DEB-8BBD-145D72C68159}"/>
              </a:ext>
            </a:extLst>
          </p:cNvPr>
          <p:cNvSpPr txBox="1"/>
          <p:nvPr/>
        </p:nvSpPr>
        <p:spPr>
          <a:xfrm>
            <a:off x="519726" y="2343487"/>
            <a:ext cx="52407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ДЛ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≥20 мм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т.с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(согласно рекомендациям ЕОК/ЕОП 2018 г.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0C0595-B25E-4F43-B52C-0C6A304EAAF1}"/>
              </a:ext>
            </a:extLst>
          </p:cNvPr>
          <p:cNvSpPr txBox="1"/>
          <p:nvPr/>
        </p:nvSpPr>
        <p:spPr>
          <a:xfrm>
            <a:off x="519726" y="3658032"/>
            <a:ext cx="51477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ДЛ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≥20 мм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т.с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рмальное ДЗЛА (≤15 мм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т.с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)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СС &gt; 3 единиц Вуда (250 дин/сек/см</a:t>
            </a:r>
            <a:r>
              <a:rPr kumimoji="0" lang="ru-RU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ключены другие причины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капиллярно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ЛГ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799041-1B31-4B6F-A91B-8D761EFD91DF}"/>
              </a:ext>
            </a:extLst>
          </p:cNvPr>
          <p:cNvSpPr txBox="1"/>
          <p:nvPr/>
        </p:nvSpPr>
        <p:spPr>
          <a:xfrm>
            <a:off x="5760456" y="1548291"/>
            <a:ext cx="6038204" cy="646331"/>
          </a:xfrm>
          <a:prstGeom prst="roundRect">
            <a:avLst/>
          </a:prstGeom>
          <a:noFill/>
          <a:ln w="381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lvl="0" algn="ctr">
              <a:defRPr>
                <a:solidFill>
                  <a:srgbClr val="F2F2F2">
                    <a:lumMod val="10000"/>
                  </a:srgbClr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Характерный график, отражающий внутрисердечное давление, при прохождении датчика через полость сердца во время КПОС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2</a:t>
            </a: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FB4FF92D-2B16-4E58-893F-58CA9156C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96579" y="2115295"/>
            <a:ext cx="4767862" cy="4024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32325" y="3953881"/>
            <a:ext cx="768902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авое предсерди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045275" y="3953881"/>
            <a:ext cx="657107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авый желудочек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115426" y="3953881"/>
            <a:ext cx="788112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егочная артерия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076454" y="3954887"/>
            <a:ext cx="1176970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егочная артерия перекрыта баллоно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0378306" y="4621070"/>
            <a:ext cx="1996814" cy="3204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вление, мм рт.ст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28724" y="5930513"/>
            <a:ext cx="632609" cy="2088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ПП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057842" y="5930513"/>
            <a:ext cx="632609" cy="2088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П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310269" y="5930513"/>
            <a:ext cx="632609" cy="2088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ПП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246392" y="5930513"/>
            <a:ext cx="632609" cy="2088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ЗЛА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916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FC60E05-B357-449B-BBD0-B06E2BD812C2}"/>
              </a:ext>
            </a:extLst>
          </p:cNvPr>
          <p:cNvSpPr/>
          <p:nvPr/>
        </p:nvSpPr>
        <p:spPr>
          <a:xfrm>
            <a:off x="769435" y="818700"/>
            <a:ext cx="121932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7E84C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ценка риска играет важную роль в определении прогноза и оптимальной стратегии терапии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B07933A2-64A8-4860-B671-359D3F7C6784}"/>
              </a:ext>
            </a:extLst>
          </p:cNvPr>
          <p:cNvSpPr txBox="1">
            <a:spLocks/>
          </p:cNvSpPr>
          <p:nvPr/>
        </p:nvSpPr>
        <p:spPr>
          <a:xfrm>
            <a:off x="4853272" y="5554687"/>
            <a:ext cx="6981141" cy="560586"/>
          </a:xfrm>
          <a:prstGeom prst="roundRect">
            <a:avLst/>
          </a:prstGeom>
          <a:noFill/>
          <a:ln w="38100" cap="flat" cmpd="sng" algn="ctr">
            <a:solidFill>
              <a:srgbClr val="CC0033"/>
            </a:solidFill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lvl="0" algn="ctr">
              <a:defRPr sz="1600">
                <a:solidFill>
                  <a:srgbClr val="F2F2F2">
                    <a:lumMod val="10000"/>
                  </a:srgbClr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Согласно рекомендациям, следует проводить регулярную многофакторную оценку риска на момент диагностики и в динамике (каждые 3-6 месяцев)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842C74-2048-49A9-9006-6C1DDA08C229}"/>
              </a:ext>
            </a:extLst>
          </p:cNvPr>
          <p:cNvSpPr txBox="1"/>
          <p:nvPr/>
        </p:nvSpPr>
        <p:spPr>
          <a:xfrm rot="16200000">
            <a:off x="2963690" y="3211712"/>
            <a:ext cx="32038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комендации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C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S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5 г.</a:t>
            </a:r>
            <a:r>
              <a:rPr kumimoji="0" lang="ru-RU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7B1006-DD38-419C-B095-FF23DA33DAFC}"/>
              </a:ext>
            </a:extLst>
          </p:cNvPr>
          <p:cNvSpPr txBox="1"/>
          <p:nvPr/>
        </p:nvSpPr>
        <p:spPr>
          <a:xfrm rot="16200000">
            <a:off x="437773" y="2274174"/>
            <a:ext cx="12434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AL 2.0</a:t>
            </a:r>
            <a:r>
              <a:rPr kumimoji="0" lang="ru-RU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98EB9F-97B8-464C-93FD-97172427CE2D}"/>
              </a:ext>
            </a:extLst>
          </p:cNvPr>
          <p:cNvSpPr txBox="1"/>
          <p:nvPr/>
        </p:nvSpPr>
        <p:spPr>
          <a:xfrm>
            <a:off x="5525195" y="6099301"/>
            <a:ext cx="56372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улярная оценка риска позволяе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C00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ксимально быстр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птировать тактику лечения для каждого пациента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E0946CAD-31D8-4FB1-9276-D2C7FE52B3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946" y="1773238"/>
            <a:ext cx="2361211" cy="4087887"/>
          </a:xfrm>
          <a:prstGeom prst="rect">
            <a:avLst/>
          </a:prstGeom>
        </p:spPr>
      </p:pic>
      <p:graphicFrame>
        <p:nvGraphicFramePr>
          <p:cNvPr id="10" name="Content Placeholder 4">
            <a:extLst>
              <a:ext uri="{FF2B5EF4-FFF2-40B4-BE49-F238E27FC236}">
                <a16:creationId xmlns:a16="http://schemas.microsoft.com/office/drawing/2014/main" id="{B981F2B6-ADA2-4D80-85D4-5D8B7BBECC43}"/>
              </a:ext>
            </a:extLst>
          </p:cNvPr>
          <p:cNvGraphicFramePr>
            <a:graphicFrameLocks/>
          </p:cNvGraphicFramePr>
          <p:nvPr/>
        </p:nvGraphicFramePr>
        <p:xfrm>
          <a:off x="4853274" y="1454347"/>
          <a:ext cx="6981141" cy="4057600"/>
        </p:xfrm>
        <a:graphic>
          <a:graphicData uri="http://schemas.openxmlformats.org/drawingml/2006/table">
            <a:tbl>
              <a:tblPr firstRow="1" bandRow="1"/>
              <a:tblGrid>
                <a:gridCol w="1538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41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3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52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7359">
                <a:tc rowSpan="2"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оры, определяющие прогноз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ная смертность в течение 1 года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/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359">
                <a:tc v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риск &lt;5%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риск 5-10%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риск &gt; 10%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нические признаки правожелудочковой недостаточности 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уют 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ую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сутствую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ессирование симптомов</a:t>
                      </a:r>
                      <a:endParaRPr lang="ru-RU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ленное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строе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морок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ические обмороки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торяющиеся обмороки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К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, II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Т6-МХ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40 м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-440 м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65 м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ПН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gt;15 мл/мин/кг </a:t>
                      </a:r>
                      <a:br>
                        <a:rPr lang="ru-RU" sz="9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&gt;65% от должного)</a:t>
                      </a:r>
                      <a:br>
                        <a:rPr lang="ru-RU" sz="9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36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1-15 мл/мин/кг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5-65% от должного) </a:t>
                      </a:r>
                      <a:br>
                        <a:rPr lang="ru-RU" sz="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-44,9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11 мл/мин/кг</a:t>
                      </a:r>
                    </a:p>
                    <a:p>
                      <a:pPr algn="ctr" rtl="0">
                        <a:spcBef>
                          <a:spcPts val="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&lt;35% от должного)</a:t>
                      </a:r>
                      <a:br>
                        <a:rPr lang="ru-RU" sz="9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≥ 45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центрация NT-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</a:t>
                      </a:r>
                      <a:b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азме крови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&lt;5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3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50-300 нг/л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proBNP 300-1400 нг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&gt;3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  <a:br>
                        <a:rPr lang="ru-RU" sz="9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gt;14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зуализирующие исследования </a:t>
                      </a:r>
                      <a:b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хоКГ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МРТ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ь ПП &lt;18 см</a:t>
                      </a:r>
                      <a:r>
                        <a:rPr lang="ru-RU" sz="900" b="0" i="0" u="none" strike="noStrike" kern="120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ерикардиального выпота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ПП 18-26 см</a:t>
                      </a:r>
                      <a:r>
                        <a:rPr lang="ru-RU" sz="900" b="0" i="0" u="none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ие или минимальное количество перикардиального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та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ь ПП &gt; 26 см</a:t>
                      </a:r>
                      <a:r>
                        <a:rPr lang="ru-RU" sz="900" b="0" i="0" u="none" strike="noStrike" kern="120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икардиальный выпот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емодинамика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ПП &lt;8 мм рт.ст.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И ≥2,5 л/мин/м</a:t>
                      </a:r>
                      <a:r>
                        <a:rPr lang="ru-RU" sz="900" b="0" i="0" u="none" strike="noStrike" kern="120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vO2 &gt; 65%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ПП 8-14 мм рт.ст.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 2,0-2,4 л/мин/м</a:t>
                      </a:r>
                      <a:r>
                        <a:rPr lang="ru-RU" sz="900" b="0" i="0" u="none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O2 60-65%</a:t>
                      </a:r>
                      <a:endParaRPr lang="ru-RU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ПП &gt; 14 мм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т.ст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 &lt;2,0 л/мин/м</a:t>
                      </a:r>
                      <a:r>
                        <a:rPr lang="ru-RU" sz="900" b="0" i="0" u="none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O2 &lt;60%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320801" y="1831975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 группа по ВОЗ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групп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81280" y="1825625"/>
            <a:ext cx="182495" cy="1651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СТ-ЛАГ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62545" y="1841500"/>
            <a:ext cx="182495" cy="149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Г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68517" y="1866899"/>
            <a:ext cx="416074" cy="98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следственная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20801" y="213995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мографические характеристики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97075" y="2139950"/>
            <a:ext cx="1078787" cy="1524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жчины в возрасте &gt; 60 лет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20801" y="245110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путствующие заболевания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97075" y="2451100"/>
            <a:ext cx="1078787" cy="1524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СКФ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&lt;60 мл/мин/1,73м</a:t>
            </a:r>
            <a:r>
              <a:rPr kumimoji="0" lang="ru-RU" sz="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или почечная недостаточность (если </a:t>
            </a:r>
            <a:r>
              <a:rPr kumimoji="0" lang="ru-RU" sz="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СКФ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определить невозможно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320801" y="2773978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ункциональный класс по ВОЗ/NYHA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20800" y="3080273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сновные показатели жизнедеятельности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97074" y="3400948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питализации по любой причине в течение 6 месяце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320799" y="3720876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ест 6-минутной ходьбы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20798" y="3391037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питализации по любой причине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≤ 6 месяцев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97074" y="3090235"/>
            <a:ext cx="552452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Д &lt;110 мм рт.ст.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32138" y="3090672"/>
            <a:ext cx="552452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СС &gt; 96 уд/ми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22308" y="4054612"/>
            <a:ext cx="308936" cy="1935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&lt;50 пг/мл или NT-proBNP &lt;300 пг/мл</a:t>
            </a: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412206" y="4049157"/>
            <a:ext cx="256310" cy="1989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 200 до &lt;800 пг/мл</a:t>
            </a: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728677" y="4059606"/>
            <a:ext cx="347741" cy="1885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≥ 800 пг/мл или NT-proBN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≥ 1100 пг/мл</a:t>
            </a: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320798" y="4040940"/>
            <a:ext cx="641349" cy="365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NP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81280" y="3708460"/>
            <a:ext cx="182495" cy="1651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≥ 400 м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418095" y="3724335"/>
            <a:ext cx="266132" cy="149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 30 </a:t>
            </a:r>
            <a:b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&lt;400 м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736849" y="3749734"/>
            <a:ext cx="347741" cy="98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&lt;165 м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320798" y="4408921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хокардиография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997074" y="4422144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икардиальный выпот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320797" y="473141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ункция внешнего дыхания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992744" y="4735298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% от должных значений D</a:t>
            </a:r>
            <a:r>
              <a:rPr kumimoji="0" lang="ru-RU" sz="500" b="0" i="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LCO </a:t>
            </a: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&lt;40%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320796" y="5046124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тетеризация правых отделов сердца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992744" y="5045315"/>
            <a:ext cx="556782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ДПП ≥20 мм рт.ст. в течение 1 год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549526" y="5045315"/>
            <a:ext cx="535063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СС &lt;5 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единиц Вуд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739901" y="5377163"/>
            <a:ext cx="1351278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1" i="0" u="none" strike="noStrike" kern="1200" cap="none" spc="0" normalizeH="0" baseline="0" noProof="0" dirty="0">
                <a:ln>
                  <a:noFill/>
                </a:ln>
                <a:solidFill>
                  <a:srgbClr val="F7C03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А ВЫШЕПЕРЕЧИСЛЕННЫХ БАЛЛОВ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359025" y="5698695"/>
            <a:ext cx="732153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1" i="0" u="none" strike="noStrike" kern="1200" cap="none" spc="0" normalizeH="0" baseline="0" noProof="0">
                <a:ln>
                  <a:noFill/>
                </a:ln>
                <a:solidFill>
                  <a:srgbClr val="EA3E3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= ИНДЕКС РИСКА</a:t>
            </a:r>
            <a:endParaRPr kumimoji="0" lang="ru-RU" sz="500" b="1" i="0" u="none" strike="noStrike" kern="1200" cap="none" spc="0" normalizeH="0" baseline="0" noProof="0" dirty="0">
              <a:ln>
                <a:noFill/>
              </a:ln>
              <a:solidFill>
                <a:srgbClr val="EA3E3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E3D211-F28D-4D60-ADA3-7FB8863C07CA}"/>
              </a:ext>
            </a:extLst>
          </p:cNvPr>
          <p:cNvSpPr/>
          <p:nvPr/>
        </p:nvSpPr>
        <p:spPr>
          <a:xfrm>
            <a:off x="145409" y="6519790"/>
            <a:ext cx="95187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Benza R, et al.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st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19; 156:323-37; 2.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liè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, et al.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r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art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 2016; 37:67-11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104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Заголовок 1"/>
          <p:cNvSpPr>
            <a:spLocks noGrp="1"/>
          </p:cNvSpPr>
          <p:nvPr>
            <p:ph type="title"/>
          </p:nvPr>
        </p:nvSpPr>
        <p:spPr>
          <a:xfrm>
            <a:off x="1981200" y="-242888"/>
            <a:ext cx="8229600" cy="1143001"/>
          </a:xfrm>
        </p:spPr>
        <p:txBody>
          <a:bodyPr/>
          <a:lstStyle/>
          <a:p>
            <a:pPr eaLnBrk="1" hangingPunct="1"/>
            <a:r>
              <a:rPr lang="uk-UA" sz="3600" b="1" dirty="0" err="1">
                <a:cs typeface="Times New Roman" pitchFamily="18" charset="0"/>
              </a:rPr>
              <a:t>Оценка</a:t>
            </a:r>
            <a:r>
              <a:rPr lang="uk-UA" sz="3600" b="1" dirty="0">
                <a:cs typeface="Times New Roman" pitchFamily="18" charset="0"/>
              </a:rPr>
              <a:t> риска при ЛГ</a:t>
            </a:r>
            <a:endParaRPr lang="ru-RU" sz="3600" b="1" dirty="0">
              <a:cs typeface="Times New Roman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1524000" y="571480"/>
          <a:ext cx="9144000" cy="565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+mn-lt"/>
                          <a:cs typeface="Times New Roman" panose="02020603050405020304" pitchFamily="18" charset="0"/>
                        </a:rPr>
                        <a:t>Показатели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AB9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err="1">
                          <a:latin typeface="+mn-lt"/>
                          <a:cs typeface="Times New Roman" panose="02020603050405020304" pitchFamily="18" charset="0"/>
                        </a:rPr>
                        <a:t>Низкий</a:t>
                      </a:r>
                      <a:r>
                        <a:rPr lang="uk-UA" sz="1400" b="1" baseline="0" dirty="0">
                          <a:latin typeface="+mn-lt"/>
                          <a:cs typeface="Times New Roman" panose="02020603050405020304" pitchFamily="18" charset="0"/>
                        </a:rPr>
                        <a:t> риск</a:t>
                      </a:r>
                      <a:r>
                        <a:rPr lang="uk-UA" sz="1400" b="1" dirty="0">
                          <a:latin typeface="+mn-lt"/>
                          <a:cs typeface="Times New Roman" panose="02020603050405020304" pitchFamily="18" charset="0"/>
                        </a:rPr>
                        <a:t>&lt;5%</a:t>
                      </a:r>
                      <a:endParaRPr lang="ru-RU" sz="14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AB9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err="1">
                          <a:latin typeface="+mn-lt"/>
                          <a:cs typeface="Times New Roman" panose="02020603050405020304" pitchFamily="18" charset="0"/>
                        </a:rPr>
                        <a:t>Умеренный</a:t>
                      </a:r>
                      <a:r>
                        <a:rPr lang="uk-UA" sz="1400" b="1" dirty="0">
                          <a:latin typeface="+mn-lt"/>
                          <a:cs typeface="Times New Roman" panose="02020603050405020304" pitchFamily="18" charset="0"/>
                        </a:rPr>
                        <a:t> риск</a:t>
                      </a:r>
                      <a:r>
                        <a:rPr lang="uk-UA" sz="1400" b="1" baseline="0" dirty="0">
                          <a:latin typeface="+mn-lt"/>
                          <a:cs typeface="Times New Roman" panose="02020603050405020304" pitchFamily="18" charset="0"/>
                        </a:rPr>
                        <a:t>  5-10%</a:t>
                      </a:r>
                      <a:endParaRPr lang="ru-RU" sz="14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AB9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err="1">
                          <a:latin typeface="+mn-lt"/>
                          <a:cs typeface="Times New Roman" panose="02020603050405020304" pitchFamily="18" charset="0"/>
                        </a:rPr>
                        <a:t>Высокий</a:t>
                      </a:r>
                      <a:r>
                        <a:rPr lang="uk-UA" sz="1400" b="1" dirty="0">
                          <a:latin typeface="+mn-lt"/>
                          <a:cs typeface="Times New Roman" panose="02020603050405020304" pitchFamily="18" charset="0"/>
                        </a:rPr>
                        <a:t> риск &gt;10%</a:t>
                      </a:r>
                      <a:endParaRPr lang="ru-RU" sz="14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AB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Клинические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признаки </a:t>
                      </a:r>
                      <a:r>
                        <a:rPr lang="uk-UA" sz="1400" baseline="0" dirty="0" err="1">
                          <a:latin typeface="+mn-lt"/>
                          <a:cs typeface="Times New Roman" panose="02020603050405020304" pitchFamily="18" charset="0"/>
                        </a:rPr>
                        <a:t>правожелудочковой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СН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F6D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отсутствую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отсутствуют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рисутствуют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Прогресирование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симптомов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медленное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быстрое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Синкопе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F6D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эпизодически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овторяющиеся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ФК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І,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ІІ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ІІІ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І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V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6-минутная 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ходьба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F6D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&gt;440 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м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165-440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м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&lt;165 м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5451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Сердцечно-легочной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нагрузочный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тест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Пиковое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VO₂&gt;15 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мл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/кг</a:t>
                      </a:r>
                    </a:p>
                    <a:p>
                      <a:pPr algn="ctr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(&gt;65%)</a:t>
                      </a:r>
                    </a:p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VE/VCO2 slope &lt;36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Пиковое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VO₂</a:t>
                      </a:r>
                      <a:r>
                        <a:rPr lang="en-US" sz="1400" baseline="0" dirty="0">
                          <a:latin typeface="+mn-lt"/>
                          <a:cs typeface="Times New Roman" panose="02020603050405020304" pitchFamily="18" charset="0"/>
                        </a:rPr>
                        <a:t> 11-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мл/мин/кг</a:t>
                      </a:r>
                    </a:p>
                    <a:p>
                      <a:pPr algn="ctr"/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35-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65%)</a:t>
                      </a:r>
                    </a:p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VE/VCO2 slope </a:t>
                      </a:r>
                      <a:r>
                        <a:rPr lang="en-US" sz="1400" baseline="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36-44,9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иковое 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VO₂&lt;11</a:t>
                      </a:r>
                      <a:r>
                        <a:rPr lang="en-US" sz="1400" baseline="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л/мин/кг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&lt;3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%)</a:t>
                      </a:r>
                    </a:p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VE/VCO2 slope ≥45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Уровень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N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Т-</a:t>
                      </a:r>
                      <a:r>
                        <a:rPr lang="en-US" sz="1400" dirty="0" err="1">
                          <a:latin typeface="+mn-lt"/>
                          <a:cs typeface="Times New Roman" panose="02020603050405020304" pitchFamily="18" charset="0"/>
                        </a:rPr>
                        <a:t>proBNP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F6D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BNP&lt;50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нг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/л</a:t>
                      </a:r>
                    </a:p>
                    <a:p>
                      <a:pPr algn="ctr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N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Т-</a:t>
                      </a:r>
                      <a:r>
                        <a:rPr lang="en-US" sz="1400" dirty="0" err="1">
                          <a:latin typeface="+mn-lt"/>
                          <a:cs typeface="Times New Roman" panose="02020603050405020304" pitchFamily="18" charset="0"/>
                        </a:rPr>
                        <a:t>proBNP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&lt;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300нг/л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BNP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50-300нг/л</a:t>
                      </a:r>
                      <a:endParaRPr lang="en-US" sz="14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 N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Т-</a:t>
                      </a:r>
                      <a:r>
                        <a:rPr lang="en-US" sz="1400" dirty="0" err="1">
                          <a:latin typeface="+mn-lt"/>
                          <a:cs typeface="Times New Roman" panose="02020603050405020304" pitchFamily="18" charset="0"/>
                        </a:rPr>
                        <a:t>proBNP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300-1400нг/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BNP&gt;</a:t>
                      </a:r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300нг/л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N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Т-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proBNP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&gt;</a:t>
                      </a:r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400нг/л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Исследования</a:t>
                      </a:r>
                      <a:endParaRPr lang="en-US" sz="14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ЭхоКГ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МРТ </a:t>
                      </a:r>
                      <a:r>
                        <a:rPr lang="uk-UA" sz="1400" baseline="0" dirty="0" err="1">
                          <a:latin typeface="+mn-lt"/>
                          <a:cs typeface="Times New Roman" panose="02020603050405020304" pitchFamily="18" charset="0"/>
                        </a:rPr>
                        <a:t>сердца</a:t>
                      </a:r>
                      <a:r>
                        <a:rPr lang="en-US" sz="1400" baseline="0" dirty="0">
                          <a:latin typeface="+mn-lt"/>
                          <a:cs typeface="Times New Roman" panose="02020603050405020304" pitchFamily="18" charset="0"/>
                        </a:rPr>
                        <a:t>)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Площадь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ПП &lt;18 см²</a:t>
                      </a:r>
                    </a:p>
                    <a:p>
                      <a:pPr algn="ctr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400" baseline="0" dirty="0" err="1">
                          <a:latin typeface="+mn-lt"/>
                          <a:cs typeface="Times New Roman" panose="02020603050405020304" pitchFamily="18" charset="0"/>
                        </a:rPr>
                        <a:t>перикардильного</a:t>
                      </a:r>
                      <a:r>
                        <a:rPr lang="uk-UA" sz="1400" baseline="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uk-UA" sz="1400" baseline="0" dirty="0" err="1">
                          <a:latin typeface="+mn-lt"/>
                          <a:cs typeface="Times New Roman" panose="02020603050405020304" pitchFamily="18" charset="0"/>
                        </a:rPr>
                        <a:t>выпота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Площадь ПП</a:t>
                      </a:r>
                      <a:r>
                        <a:rPr lang="ru-RU" sz="1400" baseline="0" dirty="0">
                          <a:latin typeface="+mn-lt"/>
                          <a:cs typeface="Times New Roman" panose="02020603050405020304" pitchFamily="18" charset="0"/>
                        </a:rPr>
                        <a:t> 18-26 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см²</a:t>
                      </a:r>
                    </a:p>
                    <a:p>
                      <a:pPr algn="ctr"/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Отсутствие или мин</a:t>
                      </a:r>
                      <a:r>
                        <a:rPr lang="uk-UA" sz="1400" dirty="0">
                          <a:latin typeface="+mn-lt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 перикардиальный выпо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лощадь ПП &gt;26 см²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ерикардиальный</a:t>
                      </a:r>
                      <a:r>
                        <a:rPr lang="ru-RU" sz="1400" baseline="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выпот</a:t>
                      </a:r>
                    </a:p>
                    <a:p>
                      <a:pPr algn="ctr"/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21992">
                <a:tc>
                  <a:txBody>
                    <a:bodyPr/>
                    <a:lstStyle/>
                    <a:p>
                      <a:pPr algn="l"/>
                      <a:r>
                        <a:rPr lang="uk-UA" sz="1400" dirty="0" err="1">
                          <a:latin typeface="+mn-lt"/>
                          <a:cs typeface="Times New Roman" panose="02020603050405020304" pitchFamily="18" charset="0"/>
                        </a:rPr>
                        <a:t>Гемодинамика</a:t>
                      </a:r>
                      <a:endParaRPr lang="ru-RU" sz="14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F6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Давление в ПП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 &lt; 8</a:t>
                      </a:r>
                      <a:r>
                        <a:rPr lang="en-US" sz="1400" baseline="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мм </a:t>
                      </a:r>
                      <a:r>
                        <a:rPr lang="ru-RU" sz="1400" dirty="0" err="1">
                          <a:latin typeface="+mn-lt"/>
                          <a:cs typeface="Times New Roman" panose="02020603050405020304" pitchFamily="18" charset="0"/>
                        </a:rPr>
                        <a:t>рт.ст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СІ ≥ 2,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 л/мин/м²</a:t>
                      </a:r>
                    </a:p>
                    <a:p>
                      <a:r>
                        <a:rPr lang="ru-RU" sz="1400" dirty="0" err="1">
                          <a:latin typeface="+mn-lt"/>
                          <a:cs typeface="Times New Roman" panose="02020603050405020304" pitchFamily="18" charset="0"/>
                        </a:rPr>
                        <a:t>SvO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₂ 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&gt;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 6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C08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Давление в ПП </a:t>
                      </a:r>
                      <a:r>
                        <a:rPr lang="en-US" sz="1400" baseline="0" dirty="0">
                          <a:latin typeface="+mn-lt"/>
                          <a:cs typeface="Times New Roman" panose="02020603050405020304" pitchFamily="18" charset="0"/>
                        </a:rPr>
                        <a:t> 8-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14мм </a:t>
                      </a:r>
                      <a:r>
                        <a:rPr lang="ru-RU" sz="1400" dirty="0" err="1">
                          <a:latin typeface="+mn-lt"/>
                          <a:cs typeface="Times New Roman" panose="02020603050405020304" pitchFamily="18" charset="0"/>
                        </a:rPr>
                        <a:t>рт.ст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СІ 2,0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-2,4 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л/мин/м²</a:t>
                      </a:r>
                    </a:p>
                    <a:p>
                      <a:r>
                        <a:rPr lang="ru-RU" sz="1400" dirty="0" err="1">
                          <a:latin typeface="+mn-lt"/>
                          <a:cs typeface="Times New Roman" panose="02020603050405020304" pitchFamily="18" charset="0"/>
                        </a:rPr>
                        <a:t>SvO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₂ 60</a:t>
                      </a:r>
                      <a:r>
                        <a:rPr lang="en-US" sz="1400" dirty="0">
                          <a:latin typeface="+mn-lt"/>
                          <a:cs typeface="Times New Roman" panose="02020603050405020304" pitchFamily="18" charset="0"/>
                        </a:rPr>
                        <a:t>-65</a:t>
                      </a:r>
                      <a:r>
                        <a:rPr lang="ru-RU" sz="1400" dirty="0">
                          <a:latin typeface="+mn-lt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авление</a:t>
                      </a:r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в ПП &gt; 14мм </a:t>
                      </a:r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рт.ст</a:t>
                      </a:r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І &lt; 2,0 л/</a:t>
                      </a:r>
                      <a:r>
                        <a:rPr lang="uk-UA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uk-UA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/м²</a:t>
                      </a:r>
                    </a:p>
                    <a:p>
                      <a:r>
                        <a:rPr lang="en-US" sz="1400" dirty="0" err="1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SvO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₂ &lt; 60%</a:t>
                      </a:r>
                      <a:endParaRPr lang="ru-RU" sz="140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3611" name="TextBox 4"/>
          <p:cNvSpPr txBox="1">
            <a:spLocks noChangeArrowheads="1"/>
          </p:cNvSpPr>
          <p:nvPr/>
        </p:nvSpPr>
        <p:spPr bwMode="auto">
          <a:xfrm>
            <a:off x="1487487" y="6589713"/>
            <a:ext cx="95773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2015 ESC/ERS Guidelines for the diagnosis</a:t>
            </a:r>
            <a:r>
              <a:rPr kumimoji="0" lang="uk-U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nd treatment of pulmonary hypertension</a:t>
            </a:r>
            <a:r>
              <a:rPr kumimoji="0" lang="uk-U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hlinkClick r:id="rId2" tooltip="European heart journal."/>
              </a:rPr>
              <a:t>Eur Heart J.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 2015 Aug 29. pii: ehv317. [Epub ahead of print]</a:t>
            </a: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619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10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4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8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13</TotalTime>
  <Words>2111</Words>
  <Application>Microsoft Office PowerPoint</Application>
  <PresentationFormat>Widescreen</PresentationFormat>
  <Paragraphs>287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35" baseType="lpstr">
      <vt:lpstr>Arial</vt:lpstr>
      <vt:lpstr>Arial Narrow</vt:lpstr>
      <vt:lpstr>Calibri</vt:lpstr>
      <vt:lpstr>Calibri Light</vt:lpstr>
      <vt:lpstr>Cambria</vt:lpstr>
      <vt:lpstr>Gill Sans MT</vt:lpstr>
      <vt:lpstr>Museo Sans Cyrl 100</vt:lpstr>
      <vt:lpstr>Noto Sans Symbols</vt:lpstr>
      <vt:lpstr>Symbol</vt:lpstr>
      <vt:lpstr>Times New Roman</vt:lpstr>
      <vt:lpstr>Times-Roman</vt:lpstr>
      <vt:lpstr>Verdana</vt:lpstr>
      <vt:lpstr>Wingdings</vt:lpstr>
      <vt:lpstr>ACTELION</vt:lpstr>
      <vt:lpstr>2_BL5719_CF</vt:lpstr>
      <vt:lpstr>1_ACTELION</vt:lpstr>
      <vt:lpstr>2_ACTELION</vt:lpstr>
      <vt:lpstr>3_ACTELION</vt:lpstr>
      <vt:lpstr>4_ACTELION</vt:lpstr>
      <vt:lpstr>Gallery</vt:lpstr>
      <vt:lpstr>1_Office Theme</vt:lpstr>
      <vt:lpstr>2_Office Theme</vt:lpstr>
      <vt:lpstr>3_Office Theme</vt:lpstr>
      <vt:lpstr>4_Office Theme</vt:lpstr>
      <vt:lpstr>Тема Offic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ценка риска при Л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55</cp:revision>
  <dcterms:created xsi:type="dcterms:W3CDTF">2020-04-22T15:20:30Z</dcterms:created>
  <dcterms:modified xsi:type="dcterms:W3CDTF">2021-08-10T07:17:34Z</dcterms:modified>
</cp:coreProperties>
</file>